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6"/>
  </p:notesMasterIdLst>
  <p:handoutMasterIdLst>
    <p:handoutMasterId r:id="rId27"/>
  </p:handoutMasterIdLst>
  <p:sldIdLst>
    <p:sldId id="256" r:id="rId5"/>
    <p:sldId id="1368" r:id="rId6"/>
    <p:sldId id="1369" r:id="rId7"/>
    <p:sldId id="1359" r:id="rId8"/>
    <p:sldId id="1361" r:id="rId9"/>
    <p:sldId id="1360" r:id="rId10"/>
    <p:sldId id="1375" r:id="rId11"/>
    <p:sldId id="1389" r:id="rId12"/>
    <p:sldId id="1376" r:id="rId13"/>
    <p:sldId id="1377" r:id="rId14"/>
    <p:sldId id="1380" r:id="rId15"/>
    <p:sldId id="1378" r:id="rId16"/>
    <p:sldId id="1382" r:id="rId17"/>
    <p:sldId id="1383" r:id="rId18"/>
    <p:sldId id="1384" r:id="rId19"/>
    <p:sldId id="1385" r:id="rId20"/>
    <p:sldId id="1390" r:id="rId21"/>
    <p:sldId id="1387" r:id="rId22"/>
    <p:sldId id="1388" r:id="rId23"/>
    <p:sldId id="1373" r:id="rId24"/>
    <p:sldId id="295" r:id="rId25"/>
  </p:sldIdLst>
  <p:sldSz cx="12192000" cy="6858000"/>
  <p:notesSz cx="6858000" cy="9144000"/>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Quick Guide" id="{B8CA9CCE-CD90-4B91-86DE-19DC0C36F26F}">
          <p14:sldIdLst>
            <p14:sldId id="256"/>
            <p14:sldId id="1368"/>
            <p14:sldId id="1369"/>
            <p14:sldId id="1359"/>
            <p14:sldId id="1361"/>
            <p14:sldId id="1360"/>
            <p14:sldId id="1375"/>
            <p14:sldId id="1389"/>
            <p14:sldId id="1376"/>
            <p14:sldId id="1377"/>
            <p14:sldId id="1380"/>
            <p14:sldId id="1378"/>
            <p14:sldId id="1382"/>
            <p14:sldId id="1383"/>
            <p14:sldId id="1384"/>
            <p14:sldId id="1385"/>
            <p14:sldId id="1390"/>
            <p14:sldId id="1387"/>
            <p14:sldId id="1388"/>
            <p14:sldId id="1373"/>
            <p14:sldId id="295"/>
          </p14:sldIdLst>
        </p14:section>
        <p14:section name="Available layouts" id="{A5AB764D-2999-4445-BD07-A3FF96CAEEBE}">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962FE05-6A3A-C564-C806-07C8A8104F70}" name="Kentros Alexandra" initials="KA" userId="S::alexandra.kentros@kontron.com::4300970e-e967-453a-9841-cdd96c7224d4"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hiddenSlides="1"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3DC5"/>
    <a:srgbClr val="2123DA"/>
    <a:srgbClr val="1A191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5DE452-78C3-4C09-8E7A-2977B1A0B10A}" v="417" dt="2023-05-31T06:38:41.209"/>
  </p1510:revLst>
</p1510:revInfo>
</file>

<file path=ppt/tableStyles.xml><?xml version="1.0" encoding="utf-8"?>
<a:tblStyleLst xmlns:a="http://schemas.openxmlformats.org/drawingml/2006/main" def="{0E3FDE45-AF77-4B5C-9715-49D594BDF05E}"/>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181" autoAdjust="0"/>
    <p:restoredTop sz="97872" autoAdjust="0"/>
  </p:normalViewPr>
  <p:slideViewPr>
    <p:cSldViewPr snapToGrid="0" showGuides="1">
      <p:cViewPr varScale="1">
        <p:scale>
          <a:sx n="117" d="100"/>
          <a:sy n="117" d="100"/>
        </p:scale>
        <p:origin x="282" y="102"/>
      </p:cViewPr>
      <p:guideLst/>
    </p:cSldViewPr>
  </p:slideViewPr>
  <p:notesTextViewPr>
    <p:cViewPr>
      <p:scale>
        <a:sx n="1" d="1"/>
        <a:sy n="1" d="1"/>
      </p:scale>
      <p:origin x="0" y="0"/>
    </p:cViewPr>
  </p:notesTextViewPr>
  <p:notesViewPr>
    <p:cSldViewPr snapToGrid="0" showGuides="1">
      <p:cViewPr varScale="1">
        <p:scale>
          <a:sx n="80" d="100"/>
          <a:sy n="80" d="100"/>
        </p:scale>
        <p:origin x="2016"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yorgy" userId="23be8501-6898-4303-ac47-0dd2dc8e306a" providerId="ADAL" clId="{2F5DE452-78C3-4C09-8E7A-2977B1A0B10A}"/>
    <pc:docChg chg="modSld">
      <pc:chgData name="Gyorgy" userId="23be8501-6898-4303-ac47-0dd2dc8e306a" providerId="ADAL" clId="{2F5DE452-78C3-4C09-8E7A-2977B1A0B10A}" dt="2023-06-01T05:04:16.827" v="3" actId="20577"/>
      <pc:docMkLst>
        <pc:docMk/>
      </pc:docMkLst>
      <pc:sldChg chg="modSp mod">
        <pc:chgData name="Gyorgy" userId="23be8501-6898-4303-ac47-0dd2dc8e306a" providerId="ADAL" clId="{2F5DE452-78C3-4C09-8E7A-2977B1A0B10A}" dt="2023-06-01T05:04:16.827" v="3" actId="20577"/>
        <pc:sldMkLst>
          <pc:docMk/>
          <pc:sldMk cId="1396098470" sldId="1373"/>
        </pc:sldMkLst>
        <pc:spChg chg="mod">
          <ac:chgData name="Gyorgy" userId="23be8501-6898-4303-ac47-0dd2dc8e306a" providerId="ADAL" clId="{2F5DE452-78C3-4C09-8E7A-2977B1A0B10A}" dt="2023-06-01T05:04:16.827" v="3" actId="20577"/>
          <ac:spMkLst>
            <pc:docMk/>
            <pc:sldMk cId="1396098470" sldId="1373"/>
            <ac:spMk id="3" creationId="{7F90428B-993E-B050-A087-4BDC9CCD9A19}"/>
          </ac:spMkLst>
        </pc:spChg>
      </pc:sldChg>
    </pc:docChg>
  </pc:docChgLst>
  <pc:docChgLst>
    <pc:chgData name="Piszker Gyorgy" userId="23be8501-6898-4303-ac47-0dd2dc8e306a" providerId="ADAL" clId="{2F5DE452-78C3-4C09-8E7A-2977B1A0B10A}"/>
    <pc:docChg chg="undo custSel addSld delSld modSld sldOrd modSection">
      <pc:chgData name="Piszker Gyorgy" userId="23be8501-6898-4303-ac47-0dd2dc8e306a" providerId="ADAL" clId="{2F5DE452-78C3-4C09-8E7A-2977B1A0B10A}" dt="2023-06-01T13:24:52.101" v="4154" actId="20577"/>
      <pc:docMkLst>
        <pc:docMk/>
      </pc:docMkLst>
      <pc:sldChg chg="modSp mod">
        <pc:chgData name="Piszker Gyorgy" userId="23be8501-6898-4303-ac47-0dd2dc8e306a" providerId="ADAL" clId="{2F5DE452-78C3-4C09-8E7A-2977B1A0B10A}" dt="2023-05-28T10:24:55.803" v="502" actId="14100"/>
        <pc:sldMkLst>
          <pc:docMk/>
          <pc:sldMk cId="3742591165" sldId="256"/>
        </pc:sldMkLst>
        <pc:spChg chg="mod">
          <ac:chgData name="Piszker Gyorgy" userId="23be8501-6898-4303-ac47-0dd2dc8e306a" providerId="ADAL" clId="{2F5DE452-78C3-4C09-8E7A-2977B1A0B10A}" dt="2023-05-28T10:24:55.803" v="502" actId="14100"/>
          <ac:spMkLst>
            <pc:docMk/>
            <pc:sldMk cId="3742591165" sldId="256"/>
            <ac:spMk id="76" creationId="{0D77A935-C444-DFC5-4D01-11FFBA9D4E13}"/>
          </ac:spMkLst>
        </pc:spChg>
        <pc:spChg chg="mod">
          <ac:chgData name="Piszker Gyorgy" userId="23be8501-6898-4303-ac47-0dd2dc8e306a" providerId="ADAL" clId="{2F5DE452-78C3-4C09-8E7A-2977B1A0B10A}" dt="2023-05-28T10:00:01.683" v="82" actId="20577"/>
          <ac:spMkLst>
            <pc:docMk/>
            <pc:sldMk cId="3742591165" sldId="256"/>
            <ac:spMk id="77" creationId="{A9459733-055C-3ACB-C996-D5F46DDE6709}"/>
          </ac:spMkLst>
        </pc:spChg>
      </pc:sldChg>
      <pc:sldChg chg="del">
        <pc:chgData name="Piszker Gyorgy" userId="23be8501-6898-4303-ac47-0dd2dc8e306a" providerId="ADAL" clId="{2F5DE452-78C3-4C09-8E7A-2977B1A0B10A}" dt="2023-05-29T17:01:14.682" v="2635" actId="47"/>
        <pc:sldMkLst>
          <pc:docMk/>
          <pc:sldMk cId="858876340" sldId="257"/>
        </pc:sldMkLst>
      </pc:sldChg>
      <pc:sldChg chg="del">
        <pc:chgData name="Piszker Gyorgy" userId="23be8501-6898-4303-ac47-0dd2dc8e306a" providerId="ADAL" clId="{2F5DE452-78C3-4C09-8E7A-2977B1A0B10A}" dt="2023-05-29T17:01:14.682" v="2635" actId="47"/>
        <pc:sldMkLst>
          <pc:docMk/>
          <pc:sldMk cId="3815359490" sldId="258"/>
        </pc:sldMkLst>
      </pc:sldChg>
      <pc:sldChg chg="del">
        <pc:chgData name="Piszker Gyorgy" userId="23be8501-6898-4303-ac47-0dd2dc8e306a" providerId="ADAL" clId="{2F5DE452-78C3-4C09-8E7A-2977B1A0B10A}" dt="2023-05-29T17:01:14.682" v="2635" actId="47"/>
        <pc:sldMkLst>
          <pc:docMk/>
          <pc:sldMk cId="1897805006" sldId="259"/>
        </pc:sldMkLst>
      </pc:sldChg>
      <pc:sldChg chg="del">
        <pc:chgData name="Piszker Gyorgy" userId="23be8501-6898-4303-ac47-0dd2dc8e306a" providerId="ADAL" clId="{2F5DE452-78C3-4C09-8E7A-2977B1A0B10A}" dt="2023-05-29T17:01:14.682" v="2635" actId="47"/>
        <pc:sldMkLst>
          <pc:docMk/>
          <pc:sldMk cId="608668748" sldId="260"/>
        </pc:sldMkLst>
      </pc:sldChg>
      <pc:sldChg chg="del">
        <pc:chgData name="Piszker Gyorgy" userId="23be8501-6898-4303-ac47-0dd2dc8e306a" providerId="ADAL" clId="{2F5DE452-78C3-4C09-8E7A-2977B1A0B10A}" dt="2023-05-29T17:01:14.682" v="2635" actId="47"/>
        <pc:sldMkLst>
          <pc:docMk/>
          <pc:sldMk cId="3615255305" sldId="261"/>
        </pc:sldMkLst>
      </pc:sldChg>
      <pc:sldChg chg="del">
        <pc:chgData name="Piszker Gyorgy" userId="23be8501-6898-4303-ac47-0dd2dc8e306a" providerId="ADAL" clId="{2F5DE452-78C3-4C09-8E7A-2977B1A0B10A}" dt="2023-05-29T17:01:14.682" v="2635" actId="47"/>
        <pc:sldMkLst>
          <pc:docMk/>
          <pc:sldMk cId="1518077107" sldId="262"/>
        </pc:sldMkLst>
      </pc:sldChg>
      <pc:sldChg chg="del">
        <pc:chgData name="Piszker Gyorgy" userId="23be8501-6898-4303-ac47-0dd2dc8e306a" providerId="ADAL" clId="{2F5DE452-78C3-4C09-8E7A-2977B1A0B10A}" dt="2023-05-29T17:01:14.682" v="2635" actId="47"/>
        <pc:sldMkLst>
          <pc:docMk/>
          <pc:sldMk cId="917971223" sldId="263"/>
        </pc:sldMkLst>
      </pc:sldChg>
      <pc:sldChg chg="del">
        <pc:chgData name="Piszker Gyorgy" userId="23be8501-6898-4303-ac47-0dd2dc8e306a" providerId="ADAL" clId="{2F5DE452-78C3-4C09-8E7A-2977B1A0B10A}" dt="2023-05-29T17:01:14.682" v="2635" actId="47"/>
        <pc:sldMkLst>
          <pc:docMk/>
          <pc:sldMk cId="3271874465" sldId="264"/>
        </pc:sldMkLst>
      </pc:sldChg>
      <pc:sldChg chg="del">
        <pc:chgData name="Piszker Gyorgy" userId="23be8501-6898-4303-ac47-0dd2dc8e306a" providerId="ADAL" clId="{2F5DE452-78C3-4C09-8E7A-2977B1A0B10A}" dt="2023-05-29T17:01:14.682" v="2635" actId="47"/>
        <pc:sldMkLst>
          <pc:docMk/>
          <pc:sldMk cId="1509181174" sldId="265"/>
        </pc:sldMkLst>
      </pc:sldChg>
      <pc:sldChg chg="del">
        <pc:chgData name="Piszker Gyorgy" userId="23be8501-6898-4303-ac47-0dd2dc8e306a" providerId="ADAL" clId="{2F5DE452-78C3-4C09-8E7A-2977B1A0B10A}" dt="2023-05-29T17:01:14.682" v="2635" actId="47"/>
        <pc:sldMkLst>
          <pc:docMk/>
          <pc:sldMk cId="2087519266" sldId="266"/>
        </pc:sldMkLst>
      </pc:sldChg>
      <pc:sldChg chg="del">
        <pc:chgData name="Piszker Gyorgy" userId="23be8501-6898-4303-ac47-0dd2dc8e306a" providerId="ADAL" clId="{2F5DE452-78C3-4C09-8E7A-2977B1A0B10A}" dt="2023-05-29T17:01:14.682" v="2635" actId="47"/>
        <pc:sldMkLst>
          <pc:docMk/>
          <pc:sldMk cId="307669282" sldId="267"/>
        </pc:sldMkLst>
      </pc:sldChg>
      <pc:sldChg chg="del">
        <pc:chgData name="Piszker Gyorgy" userId="23be8501-6898-4303-ac47-0dd2dc8e306a" providerId="ADAL" clId="{2F5DE452-78C3-4C09-8E7A-2977B1A0B10A}" dt="2023-05-29T17:01:14.682" v="2635" actId="47"/>
        <pc:sldMkLst>
          <pc:docMk/>
          <pc:sldMk cId="2765314400" sldId="268"/>
        </pc:sldMkLst>
      </pc:sldChg>
      <pc:sldChg chg="del">
        <pc:chgData name="Piszker Gyorgy" userId="23be8501-6898-4303-ac47-0dd2dc8e306a" providerId="ADAL" clId="{2F5DE452-78C3-4C09-8E7A-2977B1A0B10A}" dt="2023-05-29T17:01:14.682" v="2635" actId="47"/>
        <pc:sldMkLst>
          <pc:docMk/>
          <pc:sldMk cId="3664175657" sldId="269"/>
        </pc:sldMkLst>
      </pc:sldChg>
      <pc:sldChg chg="del">
        <pc:chgData name="Piszker Gyorgy" userId="23be8501-6898-4303-ac47-0dd2dc8e306a" providerId="ADAL" clId="{2F5DE452-78C3-4C09-8E7A-2977B1A0B10A}" dt="2023-05-29T17:01:14.682" v="2635" actId="47"/>
        <pc:sldMkLst>
          <pc:docMk/>
          <pc:sldMk cId="2342717480" sldId="270"/>
        </pc:sldMkLst>
      </pc:sldChg>
      <pc:sldChg chg="del">
        <pc:chgData name="Piszker Gyorgy" userId="23be8501-6898-4303-ac47-0dd2dc8e306a" providerId="ADAL" clId="{2F5DE452-78C3-4C09-8E7A-2977B1A0B10A}" dt="2023-05-29T17:01:14.682" v="2635" actId="47"/>
        <pc:sldMkLst>
          <pc:docMk/>
          <pc:sldMk cId="1296093125" sldId="271"/>
        </pc:sldMkLst>
      </pc:sldChg>
      <pc:sldChg chg="del">
        <pc:chgData name="Piszker Gyorgy" userId="23be8501-6898-4303-ac47-0dd2dc8e306a" providerId="ADAL" clId="{2F5DE452-78C3-4C09-8E7A-2977B1A0B10A}" dt="2023-05-29T17:01:14.682" v="2635" actId="47"/>
        <pc:sldMkLst>
          <pc:docMk/>
          <pc:sldMk cId="4006533638" sldId="272"/>
        </pc:sldMkLst>
      </pc:sldChg>
      <pc:sldChg chg="del">
        <pc:chgData name="Piszker Gyorgy" userId="23be8501-6898-4303-ac47-0dd2dc8e306a" providerId="ADAL" clId="{2F5DE452-78C3-4C09-8E7A-2977B1A0B10A}" dt="2023-05-29T17:01:14.682" v="2635" actId="47"/>
        <pc:sldMkLst>
          <pc:docMk/>
          <pc:sldMk cId="2507949671" sldId="273"/>
        </pc:sldMkLst>
      </pc:sldChg>
      <pc:sldChg chg="del">
        <pc:chgData name="Piszker Gyorgy" userId="23be8501-6898-4303-ac47-0dd2dc8e306a" providerId="ADAL" clId="{2F5DE452-78C3-4C09-8E7A-2977B1A0B10A}" dt="2023-05-29T17:01:14.682" v="2635" actId="47"/>
        <pc:sldMkLst>
          <pc:docMk/>
          <pc:sldMk cId="3129730541" sldId="274"/>
        </pc:sldMkLst>
      </pc:sldChg>
      <pc:sldChg chg="del">
        <pc:chgData name="Piszker Gyorgy" userId="23be8501-6898-4303-ac47-0dd2dc8e306a" providerId="ADAL" clId="{2F5DE452-78C3-4C09-8E7A-2977B1A0B10A}" dt="2023-05-29T17:01:14.682" v="2635" actId="47"/>
        <pc:sldMkLst>
          <pc:docMk/>
          <pc:sldMk cId="2090833727" sldId="275"/>
        </pc:sldMkLst>
      </pc:sldChg>
      <pc:sldChg chg="del">
        <pc:chgData name="Piszker Gyorgy" userId="23be8501-6898-4303-ac47-0dd2dc8e306a" providerId="ADAL" clId="{2F5DE452-78C3-4C09-8E7A-2977B1A0B10A}" dt="2023-05-29T17:01:14.682" v="2635" actId="47"/>
        <pc:sldMkLst>
          <pc:docMk/>
          <pc:sldMk cId="2121703392" sldId="276"/>
        </pc:sldMkLst>
      </pc:sldChg>
      <pc:sldChg chg="del">
        <pc:chgData name="Piszker Gyorgy" userId="23be8501-6898-4303-ac47-0dd2dc8e306a" providerId="ADAL" clId="{2F5DE452-78C3-4C09-8E7A-2977B1A0B10A}" dt="2023-05-29T17:01:14.682" v="2635" actId="47"/>
        <pc:sldMkLst>
          <pc:docMk/>
          <pc:sldMk cId="1356141166" sldId="277"/>
        </pc:sldMkLst>
      </pc:sldChg>
      <pc:sldChg chg="del">
        <pc:chgData name="Piszker Gyorgy" userId="23be8501-6898-4303-ac47-0dd2dc8e306a" providerId="ADAL" clId="{2F5DE452-78C3-4C09-8E7A-2977B1A0B10A}" dt="2023-05-29T17:01:14.682" v="2635" actId="47"/>
        <pc:sldMkLst>
          <pc:docMk/>
          <pc:sldMk cId="2205293081" sldId="278"/>
        </pc:sldMkLst>
      </pc:sldChg>
      <pc:sldChg chg="del">
        <pc:chgData name="Piszker Gyorgy" userId="23be8501-6898-4303-ac47-0dd2dc8e306a" providerId="ADAL" clId="{2F5DE452-78C3-4C09-8E7A-2977B1A0B10A}" dt="2023-05-29T17:01:14.682" v="2635" actId="47"/>
        <pc:sldMkLst>
          <pc:docMk/>
          <pc:sldMk cId="3853552766" sldId="279"/>
        </pc:sldMkLst>
      </pc:sldChg>
      <pc:sldChg chg="del">
        <pc:chgData name="Piszker Gyorgy" userId="23be8501-6898-4303-ac47-0dd2dc8e306a" providerId="ADAL" clId="{2F5DE452-78C3-4C09-8E7A-2977B1A0B10A}" dt="2023-05-29T17:01:14.682" v="2635" actId="47"/>
        <pc:sldMkLst>
          <pc:docMk/>
          <pc:sldMk cId="3483087894" sldId="280"/>
        </pc:sldMkLst>
      </pc:sldChg>
      <pc:sldChg chg="del">
        <pc:chgData name="Piszker Gyorgy" userId="23be8501-6898-4303-ac47-0dd2dc8e306a" providerId="ADAL" clId="{2F5DE452-78C3-4C09-8E7A-2977B1A0B10A}" dt="2023-05-29T17:01:14.682" v="2635" actId="47"/>
        <pc:sldMkLst>
          <pc:docMk/>
          <pc:sldMk cId="2275477985" sldId="281"/>
        </pc:sldMkLst>
      </pc:sldChg>
      <pc:sldChg chg="del">
        <pc:chgData name="Piszker Gyorgy" userId="23be8501-6898-4303-ac47-0dd2dc8e306a" providerId="ADAL" clId="{2F5DE452-78C3-4C09-8E7A-2977B1A0B10A}" dt="2023-05-29T17:01:14.682" v="2635" actId="47"/>
        <pc:sldMkLst>
          <pc:docMk/>
          <pc:sldMk cId="2445640651" sldId="282"/>
        </pc:sldMkLst>
      </pc:sldChg>
      <pc:sldChg chg="del">
        <pc:chgData name="Piszker Gyorgy" userId="23be8501-6898-4303-ac47-0dd2dc8e306a" providerId="ADAL" clId="{2F5DE452-78C3-4C09-8E7A-2977B1A0B10A}" dt="2023-05-29T17:01:14.682" v="2635" actId="47"/>
        <pc:sldMkLst>
          <pc:docMk/>
          <pc:sldMk cId="849136382" sldId="283"/>
        </pc:sldMkLst>
      </pc:sldChg>
      <pc:sldChg chg="del">
        <pc:chgData name="Piszker Gyorgy" userId="23be8501-6898-4303-ac47-0dd2dc8e306a" providerId="ADAL" clId="{2F5DE452-78C3-4C09-8E7A-2977B1A0B10A}" dt="2023-05-29T17:01:14.682" v="2635" actId="47"/>
        <pc:sldMkLst>
          <pc:docMk/>
          <pc:sldMk cId="3510984493" sldId="284"/>
        </pc:sldMkLst>
      </pc:sldChg>
      <pc:sldChg chg="del">
        <pc:chgData name="Piszker Gyorgy" userId="23be8501-6898-4303-ac47-0dd2dc8e306a" providerId="ADAL" clId="{2F5DE452-78C3-4C09-8E7A-2977B1A0B10A}" dt="2023-05-29T17:01:14.682" v="2635" actId="47"/>
        <pc:sldMkLst>
          <pc:docMk/>
          <pc:sldMk cId="1007999152" sldId="285"/>
        </pc:sldMkLst>
      </pc:sldChg>
      <pc:sldChg chg="del">
        <pc:chgData name="Piszker Gyorgy" userId="23be8501-6898-4303-ac47-0dd2dc8e306a" providerId="ADAL" clId="{2F5DE452-78C3-4C09-8E7A-2977B1A0B10A}" dt="2023-05-29T17:01:14.682" v="2635" actId="47"/>
        <pc:sldMkLst>
          <pc:docMk/>
          <pc:sldMk cId="3923424939" sldId="286"/>
        </pc:sldMkLst>
      </pc:sldChg>
      <pc:sldChg chg="del">
        <pc:chgData name="Piszker Gyorgy" userId="23be8501-6898-4303-ac47-0dd2dc8e306a" providerId="ADAL" clId="{2F5DE452-78C3-4C09-8E7A-2977B1A0B10A}" dt="2023-05-29T17:01:14.682" v="2635" actId="47"/>
        <pc:sldMkLst>
          <pc:docMk/>
          <pc:sldMk cId="1517475143" sldId="287"/>
        </pc:sldMkLst>
      </pc:sldChg>
      <pc:sldChg chg="del">
        <pc:chgData name="Piszker Gyorgy" userId="23be8501-6898-4303-ac47-0dd2dc8e306a" providerId="ADAL" clId="{2F5DE452-78C3-4C09-8E7A-2977B1A0B10A}" dt="2023-05-29T17:01:14.682" v="2635" actId="47"/>
        <pc:sldMkLst>
          <pc:docMk/>
          <pc:sldMk cId="1900787762" sldId="288"/>
        </pc:sldMkLst>
      </pc:sldChg>
      <pc:sldChg chg="del">
        <pc:chgData name="Piszker Gyorgy" userId="23be8501-6898-4303-ac47-0dd2dc8e306a" providerId="ADAL" clId="{2F5DE452-78C3-4C09-8E7A-2977B1A0B10A}" dt="2023-05-29T17:01:14.682" v="2635" actId="47"/>
        <pc:sldMkLst>
          <pc:docMk/>
          <pc:sldMk cId="2445216955" sldId="289"/>
        </pc:sldMkLst>
      </pc:sldChg>
      <pc:sldChg chg="del">
        <pc:chgData name="Piszker Gyorgy" userId="23be8501-6898-4303-ac47-0dd2dc8e306a" providerId="ADAL" clId="{2F5DE452-78C3-4C09-8E7A-2977B1A0B10A}" dt="2023-05-29T17:01:14.682" v="2635" actId="47"/>
        <pc:sldMkLst>
          <pc:docMk/>
          <pc:sldMk cId="2049482165" sldId="290"/>
        </pc:sldMkLst>
      </pc:sldChg>
      <pc:sldChg chg="del">
        <pc:chgData name="Piszker Gyorgy" userId="23be8501-6898-4303-ac47-0dd2dc8e306a" providerId="ADAL" clId="{2F5DE452-78C3-4C09-8E7A-2977B1A0B10A}" dt="2023-05-29T17:01:14.682" v="2635" actId="47"/>
        <pc:sldMkLst>
          <pc:docMk/>
          <pc:sldMk cId="2265547457" sldId="291"/>
        </pc:sldMkLst>
      </pc:sldChg>
      <pc:sldChg chg="del">
        <pc:chgData name="Piszker Gyorgy" userId="23be8501-6898-4303-ac47-0dd2dc8e306a" providerId="ADAL" clId="{2F5DE452-78C3-4C09-8E7A-2977B1A0B10A}" dt="2023-05-29T17:01:14.682" v="2635" actId="47"/>
        <pc:sldMkLst>
          <pc:docMk/>
          <pc:sldMk cId="3674344522" sldId="292"/>
        </pc:sldMkLst>
      </pc:sldChg>
      <pc:sldChg chg="del">
        <pc:chgData name="Piszker Gyorgy" userId="23be8501-6898-4303-ac47-0dd2dc8e306a" providerId="ADAL" clId="{2F5DE452-78C3-4C09-8E7A-2977B1A0B10A}" dt="2023-05-29T17:01:14.682" v="2635" actId="47"/>
        <pc:sldMkLst>
          <pc:docMk/>
          <pc:sldMk cId="3537899319" sldId="293"/>
        </pc:sldMkLst>
      </pc:sldChg>
      <pc:sldChg chg="del">
        <pc:chgData name="Piszker Gyorgy" userId="23be8501-6898-4303-ac47-0dd2dc8e306a" providerId="ADAL" clId="{2F5DE452-78C3-4C09-8E7A-2977B1A0B10A}" dt="2023-05-29T17:01:14.682" v="2635" actId="47"/>
        <pc:sldMkLst>
          <pc:docMk/>
          <pc:sldMk cId="2342160945" sldId="294"/>
        </pc:sldMkLst>
      </pc:sldChg>
      <pc:sldChg chg="addSp modSp add del mod">
        <pc:chgData name="Piszker Gyorgy" userId="23be8501-6898-4303-ac47-0dd2dc8e306a" providerId="ADAL" clId="{2F5DE452-78C3-4C09-8E7A-2977B1A0B10A}" dt="2023-05-30T04:19:37.024" v="3030"/>
        <pc:sldMkLst>
          <pc:docMk/>
          <pc:sldMk cId="1421493300" sldId="295"/>
        </pc:sldMkLst>
        <pc:spChg chg="mod">
          <ac:chgData name="Piszker Gyorgy" userId="23be8501-6898-4303-ac47-0dd2dc8e306a" providerId="ADAL" clId="{2F5DE452-78C3-4C09-8E7A-2977B1A0B10A}" dt="2023-05-30T04:17:54.544" v="2969" actId="1036"/>
          <ac:spMkLst>
            <pc:docMk/>
            <pc:sldMk cId="1421493300" sldId="295"/>
            <ac:spMk id="2" creationId="{82213DC5-360A-B1CA-8871-C9AF2A3B5FFB}"/>
          </ac:spMkLst>
        </pc:spChg>
        <pc:spChg chg="mod">
          <ac:chgData name="Piszker Gyorgy" userId="23be8501-6898-4303-ac47-0dd2dc8e306a" providerId="ADAL" clId="{2F5DE452-78C3-4C09-8E7A-2977B1A0B10A}" dt="2023-05-30T04:17:54.544" v="2969" actId="1036"/>
          <ac:spMkLst>
            <pc:docMk/>
            <pc:sldMk cId="1421493300" sldId="295"/>
            <ac:spMk id="3" creationId="{F0ADE1AD-CBA4-291E-6570-80424FD9D245}"/>
          </ac:spMkLst>
        </pc:spChg>
        <pc:spChg chg="add mod">
          <ac:chgData name="Piszker Gyorgy" userId="23be8501-6898-4303-ac47-0dd2dc8e306a" providerId="ADAL" clId="{2F5DE452-78C3-4C09-8E7A-2977B1A0B10A}" dt="2023-05-30T04:19:37.024" v="3030"/>
          <ac:spMkLst>
            <pc:docMk/>
            <pc:sldMk cId="1421493300" sldId="295"/>
            <ac:spMk id="5" creationId="{DF15FFF6-E7E3-E2AD-839D-DF9B0496A3F7}"/>
          </ac:spMkLst>
        </pc:spChg>
        <pc:picChg chg="add mod">
          <ac:chgData name="Piszker Gyorgy" userId="23be8501-6898-4303-ac47-0dd2dc8e306a" providerId="ADAL" clId="{2F5DE452-78C3-4C09-8E7A-2977B1A0B10A}" dt="2023-05-30T04:17:23.269" v="2951"/>
          <ac:picMkLst>
            <pc:docMk/>
            <pc:sldMk cId="1421493300" sldId="295"/>
            <ac:picMk id="4" creationId="{2EB7C188-EAD3-C955-C126-D189507EEB09}"/>
          </ac:picMkLst>
        </pc:picChg>
      </pc:sldChg>
      <pc:sldChg chg="add del">
        <pc:chgData name="Piszker Gyorgy" userId="23be8501-6898-4303-ac47-0dd2dc8e306a" providerId="ADAL" clId="{2F5DE452-78C3-4C09-8E7A-2977B1A0B10A}" dt="2023-05-30T04:19:50.467" v="3031" actId="47"/>
        <pc:sldMkLst>
          <pc:docMk/>
          <pc:sldMk cId="3713725079" sldId="296"/>
        </pc:sldMkLst>
      </pc:sldChg>
      <pc:sldChg chg="del">
        <pc:chgData name="Piszker Gyorgy" userId="23be8501-6898-4303-ac47-0dd2dc8e306a" providerId="ADAL" clId="{2F5DE452-78C3-4C09-8E7A-2977B1A0B10A}" dt="2023-05-29T17:01:14.682" v="2635" actId="47"/>
        <pc:sldMkLst>
          <pc:docMk/>
          <pc:sldMk cId="2818935468" sldId="297"/>
        </pc:sldMkLst>
      </pc:sldChg>
      <pc:sldChg chg="modSp add del mod">
        <pc:chgData name="Piszker Gyorgy" userId="23be8501-6898-4303-ac47-0dd2dc8e306a" providerId="ADAL" clId="{2F5DE452-78C3-4C09-8E7A-2977B1A0B10A}" dt="2023-05-29T17:00:51.409" v="2634" actId="47"/>
        <pc:sldMkLst>
          <pc:docMk/>
          <pc:sldMk cId="2251967613" sldId="1169"/>
        </pc:sldMkLst>
        <pc:spChg chg="mod">
          <ac:chgData name="Piszker Gyorgy" userId="23be8501-6898-4303-ac47-0dd2dc8e306a" providerId="ADAL" clId="{2F5DE452-78C3-4C09-8E7A-2977B1A0B10A}" dt="2023-05-29T16:42:31.712" v="2425" actId="20577"/>
          <ac:spMkLst>
            <pc:docMk/>
            <pc:sldMk cId="2251967613" sldId="1169"/>
            <ac:spMk id="8" creationId="{43EF69FD-A3BE-4A5D-BCBA-40A275F1F289}"/>
          </ac:spMkLst>
        </pc:spChg>
      </pc:sldChg>
      <pc:sldChg chg="addSp delSp modSp add mod">
        <pc:chgData name="Piszker Gyorgy" userId="23be8501-6898-4303-ac47-0dd2dc8e306a" providerId="ADAL" clId="{2F5DE452-78C3-4C09-8E7A-2977B1A0B10A}" dt="2023-05-31T06:16:57.069" v="3921"/>
        <pc:sldMkLst>
          <pc:docMk/>
          <pc:sldMk cId="3827897532" sldId="1359"/>
        </pc:sldMkLst>
        <pc:spChg chg="mod">
          <ac:chgData name="Piszker Gyorgy" userId="23be8501-6898-4303-ac47-0dd2dc8e306a" providerId="ADAL" clId="{2F5DE452-78C3-4C09-8E7A-2977B1A0B10A}" dt="2023-05-28T10:35:01.448" v="561" actId="1076"/>
          <ac:spMkLst>
            <pc:docMk/>
            <pc:sldMk cId="3827897532" sldId="1359"/>
            <ac:spMk id="9" creationId="{F6B4FEA6-3C17-4511-BB8F-8EE6DD883ECA}"/>
          </ac:spMkLst>
        </pc:spChg>
        <pc:spChg chg="mod">
          <ac:chgData name="Piszker Gyorgy" userId="23be8501-6898-4303-ac47-0dd2dc8e306a" providerId="ADAL" clId="{2F5DE452-78C3-4C09-8E7A-2977B1A0B10A}" dt="2023-05-28T10:35:51.778" v="567" actId="255"/>
          <ac:spMkLst>
            <pc:docMk/>
            <pc:sldMk cId="3827897532" sldId="1359"/>
            <ac:spMk id="10" creationId="{CE8EEE56-0F76-4ACF-BD59-97F0632865CF}"/>
          </ac:spMkLst>
        </pc:spChg>
        <pc:spChg chg="del">
          <ac:chgData name="Piszker Gyorgy" userId="23be8501-6898-4303-ac47-0dd2dc8e306a" providerId="ADAL" clId="{2F5DE452-78C3-4C09-8E7A-2977B1A0B10A}" dt="2023-05-28T10:34:46.729" v="560" actId="478"/>
          <ac:spMkLst>
            <pc:docMk/>
            <pc:sldMk cId="3827897532" sldId="1359"/>
            <ac:spMk id="11" creationId="{A92BA684-D246-48A1-AC71-28A918CA5F04}"/>
          </ac:spMkLst>
        </pc:spChg>
        <pc:spChg chg="mod ord">
          <ac:chgData name="Piszker Gyorgy" userId="23be8501-6898-4303-ac47-0dd2dc8e306a" providerId="ADAL" clId="{2F5DE452-78C3-4C09-8E7A-2977B1A0B10A}" dt="2023-05-28T10:35:09.590" v="562" actId="167"/>
          <ac:spMkLst>
            <pc:docMk/>
            <pc:sldMk cId="3827897532" sldId="1359"/>
            <ac:spMk id="12" creationId="{9E3B40A3-1E0F-4449-9A92-A4D10B006009}"/>
          </ac:spMkLst>
        </pc:spChg>
        <pc:spChg chg="mod">
          <ac:chgData name="Piszker Gyorgy" userId="23be8501-6898-4303-ac47-0dd2dc8e306a" providerId="ADAL" clId="{2F5DE452-78C3-4C09-8E7A-2977B1A0B10A}" dt="2023-05-28T10:35:01.448" v="561" actId="1076"/>
          <ac:spMkLst>
            <pc:docMk/>
            <pc:sldMk cId="3827897532" sldId="1359"/>
            <ac:spMk id="21" creationId="{D53FD00C-D7FA-458A-4C30-A6453566F440}"/>
          </ac:spMkLst>
        </pc:spChg>
        <pc:spChg chg="mod">
          <ac:chgData name="Piszker Gyorgy" userId="23be8501-6898-4303-ac47-0dd2dc8e306a" providerId="ADAL" clId="{2F5DE452-78C3-4C09-8E7A-2977B1A0B10A}" dt="2023-05-28T10:35:01.448" v="561" actId="1076"/>
          <ac:spMkLst>
            <pc:docMk/>
            <pc:sldMk cId="3827897532" sldId="1359"/>
            <ac:spMk id="23" creationId="{02DA3CF3-0FCE-D850-655C-F49E50991119}"/>
          </ac:spMkLst>
        </pc:spChg>
        <pc:spChg chg="mod">
          <ac:chgData name="Piszker Gyorgy" userId="23be8501-6898-4303-ac47-0dd2dc8e306a" providerId="ADAL" clId="{2F5DE452-78C3-4C09-8E7A-2977B1A0B10A}" dt="2023-05-31T04:16:38.359" v="3481" actId="6549"/>
          <ac:spMkLst>
            <pc:docMk/>
            <pc:sldMk cId="3827897532" sldId="1359"/>
            <ac:spMk id="24" creationId="{86A9B07D-B290-79CB-4BAF-A619EC1BCF9B}"/>
          </ac:spMkLst>
        </pc:spChg>
        <pc:spChg chg="mod">
          <ac:chgData name="Piszker Gyorgy" userId="23be8501-6898-4303-ac47-0dd2dc8e306a" providerId="ADAL" clId="{2F5DE452-78C3-4C09-8E7A-2977B1A0B10A}" dt="2023-05-28T10:35:01.448" v="561" actId="1076"/>
          <ac:spMkLst>
            <pc:docMk/>
            <pc:sldMk cId="3827897532" sldId="1359"/>
            <ac:spMk id="25" creationId="{8F37DFD1-FC5F-00BF-778E-B537DBC8AE21}"/>
          </ac:spMkLst>
        </pc:spChg>
        <pc:spChg chg="mod">
          <ac:chgData name="Piszker Gyorgy" userId="23be8501-6898-4303-ac47-0dd2dc8e306a" providerId="ADAL" clId="{2F5DE452-78C3-4C09-8E7A-2977B1A0B10A}" dt="2023-05-28T10:35:01.448" v="561" actId="1076"/>
          <ac:spMkLst>
            <pc:docMk/>
            <pc:sldMk cId="3827897532" sldId="1359"/>
            <ac:spMk id="26" creationId="{7BF37D7D-8064-6903-B05A-17614BEB32AB}"/>
          </ac:spMkLst>
        </pc:spChg>
        <pc:picChg chg="add mod">
          <ac:chgData name="Piszker Gyorgy" userId="23be8501-6898-4303-ac47-0dd2dc8e306a" providerId="ADAL" clId="{2F5DE452-78C3-4C09-8E7A-2977B1A0B10A}" dt="2023-05-28T10:35:18.658" v="563"/>
          <ac:picMkLst>
            <pc:docMk/>
            <pc:sldMk cId="3827897532" sldId="1359"/>
            <ac:picMk id="3" creationId="{CF8BA5D4-DF7F-BE98-9792-B8AA1F66C9AA}"/>
          </ac:picMkLst>
        </pc:picChg>
        <pc:picChg chg="add mod">
          <ac:chgData name="Piszker Gyorgy" userId="23be8501-6898-4303-ac47-0dd2dc8e306a" providerId="ADAL" clId="{2F5DE452-78C3-4C09-8E7A-2977B1A0B10A}" dt="2023-05-31T06:16:30.007" v="3916"/>
          <ac:picMkLst>
            <pc:docMk/>
            <pc:sldMk cId="3827897532" sldId="1359"/>
            <ac:picMk id="4" creationId="{3093252D-4A73-F79A-91F1-92A3360E83A5}"/>
          </ac:picMkLst>
        </pc:picChg>
        <pc:picChg chg="add del mod">
          <ac:chgData name="Piszker Gyorgy" userId="23be8501-6898-4303-ac47-0dd2dc8e306a" providerId="ADAL" clId="{2F5DE452-78C3-4C09-8E7A-2977B1A0B10A}" dt="2023-05-31T06:16:57.069" v="3921"/>
          <ac:picMkLst>
            <pc:docMk/>
            <pc:sldMk cId="3827897532" sldId="1359"/>
            <ac:picMk id="5" creationId="{1179C6B4-A933-30A7-180E-C5B5D99B7C09}"/>
          </ac:picMkLst>
        </pc:picChg>
      </pc:sldChg>
      <pc:sldChg chg="addSp delSp modSp add mod">
        <pc:chgData name="Piszker Gyorgy" userId="23be8501-6898-4303-ac47-0dd2dc8e306a" providerId="ADAL" clId="{2F5DE452-78C3-4C09-8E7A-2977B1A0B10A}" dt="2023-05-31T06:17:44.472" v="3927" actId="478"/>
        <pc:sldMkLst>
          <pc:docMk/>
          <pc:sldMk cId="3823180167" sldId="1360"/>
        </pc:sldMkLst>
        <pc:spChg chg="add del mod">
          <ac:chgData name="Piszker Gyorgy" userId="23be8501-6898-4303-ac47-0dd2dc8e306a" providerId="ADAL" clId="{2F5DE452-78C3-4C09-8E7A-2977B1A0B10A}" dt="2023-05-28T11:10:02.610" v="706" actId="478"/>
          <ac:spMkLst>
            <pc:docMk/>
            <pc:sldMk cId="3823180167" sldId="1360"/>
            <ac:spMk id="4" creationId="{2ACC647B-9340-8051-2C4A-1F1EBE12D998}"/>
          </ac:spMkLst>
        </pc:spChg>
        <pc:spChg chg="add mod">
          <ac:chgData name="Piszker Gyorgy" userId="23be8501-6898-4303-ac47-0dd2dc8e306a" providerId="ADAL" clId="{2F5DE452-78C3-4C09-8E7A-2977B1A0B10A}" dt="2023-05-28T11:12:19.374" v="757" actId="6549"/>
          <ac:spMkLst>
            <pc:docMk/>
            <pc:sldMk cId="3823180167" sldId="1360"/>
            <ac:spMk id="7" creationId="{4AD00348-D2FF-9D6C-6440-9DBC31E3D057}"/>
          </ac:spMkLst>
        </pc:spChg>
        <pc:spChg chg="del">
          <ac:chgData name="Piszker Gyorgy" userId="23be8501-6898-4303-ac47-0dd2dc8e306a" providerId="ADAL" clId="{2F5DE452-78C3-4C09-8E7A-2977B1A0B10A}" dt="2023-05-28T11:09:58.948" v="705" actId="478"/>
          <ac:spMkLst>
            <pc:docMk/>
            <pc:sldMk cId="3823180167" sldId="1360"/>
            <ac:spMk id="9" creationId="{F6B4FEA6-3C17-4511-BB8F-8EE6DD883ECA}"/>
          </ac:spMkLst>
        </pc:spChg>
        <pc:spChg chg="del mod">
          <ac:chgData name="Piszker Gyorgy" userId="23be8501-6898-4303-ac47-0dd2dc8e306a" providerId="ADAL" clId="{2F5DE452-78C3-4C09-8E7A-2977B1A0B10A}" dt="2023-05-28T11:11:47.147" v="713" actId="478"/>
          <ac:spMkLst>
            <pc:docMk/>
            <pc:sldMk cId="3823180167" sldId="1360"/>
            <ac:spMk id="10" creationId="{CE8EEE56-0F76-4ACF-BD59-97F0632865CF}"/>
          </ac:spMkLst>
        </pc:spChg>
        <pc:graphicFrameChg chg="ord modGraphic">
          <ac:chgData name="Piszker Gyorgy" userId="23be8501-6898-4303-ac47-0dd2dc8e306a" providerId="ADAL" clId="{2F5DE452-78C3-4C09-8E7A-2977B1A0B10A}" dt="2023-05-31T04:21:48.464" v="3485" actId="20577"/>
          <ac:graphicFrameMkLst>
            <pc:docMk/>
            <pc:sldMk cId="3823180167" sldId="1360"/>
            <ac:graphicFrameMk id="15" creationId="{CFA29377-1487-6F1B-247A-E64D2DE7549F}"/>
          </ac:graphicFrameMkLst>
        </pc:graphicFrameChg>
        <pc:picChg chg="add del mod">
          <ac:chgData name="Piszker Gyorgy" userId="23be8501-6898-4303-ac47-0dd2dc8e306a" providerId="ADAL" clId="{2F5DE452-78C3-4C09-8E7A-2977B1A0B10A}" dt="2023-05-31T06:17:44.472" v="3927" actId="478"/>
          <ac:picMkLst>
            <pc:docMk/>
            <pc:sldMk cId="3823180167" sldId="1360"/>
            <ac:picMk id="3" creationId="{42FBBA15-E476-D388-71A7-EAD8D02B679E}"/>
          </ac:picMkLst>
        </pc:picChg>
        <pc:picChg chg="add mod">
          <ac:chgData name="Piszker Gyorgy" userId="23be8501-6898-4303-ac47-0dd2dc8e306a" providerId="ADAL" clId="{2F5DE452-78C3-4C09-8E7A-2977B1A0B10A}" dt="2023-05-28T11:11:11.242" v="711" actId="1076"/>
          <ac:picMkLst>
            <pc:docMk/>
            <pc:sldMk cId="3823180167" sldId="1360"/>
            <ac:picMk id="5" creationId="{25641D0E-D1FB-BFC2-F5BD-D2C6F0698738}"/>
          </ac:picMkLst>
        </pc:picChg>
      </pc:sldChg>
      <pc:sldChg chg="addSp delSp modSp add mod delAnim modAnim modNotes">
        <pc:chgData name="Piszker Gyorgy" userId="23be8501-6898-4303-ac47-0dd2dc8e306a" providerId="ADAL" clId="{2F5DE452-78C3-4C09-8E7A-2977B1A0B10A}" dt="2023-05-31T06:17:06.665" v="3923" actId="1076"/>
        <pc:sldMkLst>
          <pc:docMk/>
          <pc:sldMk cId="3544187937" sldId="1361"/>
        </pc:sldMkLst>
        <pc:spChg chg="mod">
          <ac:chgData name="Piszker Gyorgy" userId="23be8501-6898-4303-ac47-0dd2dc8e306a" providerId="ADAL" clId="{2F5DE452-78C3-4C09-8E7A-2977B1A0B10A}" dt="2023-05-28T10:37:50.485" v="595" actId="1035"/>
          <ac:spMkLst>
            <pc:docMk/>
            <pc:sldMk cId="3544187937" sldId="1361"/>
            <ac:spMk id="3" creationId="{093F1509-D6A7-FB3D-98ED-2C67F28DAB44}"/>
          </ac:spMkLst>
        </pc:spChg>
        <pc:spChg chg="mod">
          <ac:chgData name="Piszker Gyorgy" userId="23be8501-6898-4303-ac47-0dd2dc8e306a" providerId="ADAL" clId="{2F5DE452-78C3-4C09-8E7A-2977B1A0B10A}" dt="2023-05-30T04:21:58.218" v="3036" actId="20577"/>
          <ac:spMkLst>
            <pc:docMk/>
            <pc:sldMk cId="3544187937" sldId="1361"/>
            <ac:spMk id="4" creationId="{D1571C0F-781C-C7A5-81FE-1A005B2031E0}"/>
          </ac:spMkLst>
        </pc:spChg>
        <pc:spChg chg="add mod">
          <ac:chgData name="Piszker Gyorgy" userId="23be8501-6898-4303-ac47-0dd2dc8e306a" providerId="ADAL" clId="{2F5DE452-78C3-4C09-8E7A-2977B1A0B10A}" dt="2023-05-30T04:25:06.655" v="3068" actId="14100"/>
          <ac:spMkLst>
            <pc:docMk/>
            <pc:sldMk cId="3544187937" sldId="1361"/>
            <ac:spMk id="5" creationId="{ECDCEC01-DD92-05DA-EC88-2A6DA589F24D}"/>
          </ac:spMkLst>
        </pc:spChg>
        <pc:spChg chg="add mod">
          <ac:chgData name="Piszker Gyorgy" userId="23be8501-6898-4303-ac47-0dd2dc8e306a" providerId="ADAL" clId="{2F5DE452-78C3-4C09-8E7A-2977B1A0B10A}" dt="2023-05-30T04:25:42.210" v="3072" actId="1076"/>
          <ac:spMkLst>
            <pc:docMk/>
            <pc:sldMk cId="3544187937" sldId="1361"/>
            <ac:spMk id="6" creationId="{0545DEB2-C508-0295-0D0D-F6DB93FDFC5F}"/>
          </ac:spMkLst>
        </pc:spChg>
        <pc:spChg chg="mod">
          <ac:chgData name="Piszker Gyorgy" userId="23be8501-6898-4303-ac47-0dd2dc8e306a" providerId="ADAL" clId="{2F5DE452-78C3-4C09-8E7A-2977B1A0B10A}" dt="2023-05-28T10:37:50.485" v="595" actId="1035"/>
          <ac:spMkLst>
            <pc:docMk/>
            <pc:sldMk cId="3544187937" sldId="1361"/>
            <ac:spMk id="7" creationId="{53C977D7-664F-01C9-5BA8-ED5ADE11A46F}"/>
          </ac:spMkLst>
        </pc:spChg>
        <pc:spChg chg="mod">
          <ac:chgData name="Piszker Gyorgy" userId="23be8501-6898-4303-ac47-0dd2dc8e306a" providerId="ADAL" clId="{2F5DE452-78C3-4C09-8E7A-2977B1A0B10A}" dt="2023-05-28T10:37:50.485" v="595" actId="1035"/>
          <ac:spMkLst>
            <pc:docMk/>
            <pc:sldMk cId="3544187937" sldId="1361"/>
            <ac:spMk id="8" creationId="{FAE856C0-26EC-7212-A625-2FAF74C61FC1}"/>
          </ac:spMkLst>
        </pc:spChg>
        <pc:spChg chg="del mod">
          <ac:chgData name="Piszker Gyorgy" userId="23be8501-6898-4303-ac47-0dd2dc8e306a" providerId="ADAL" clId="{2F5DE452-78C3-4C09-8E7A-2977B1A0B10A}" dt="2023-05-28T11:08:10.344" v="701" actId="478"/>
          <ac:spMkLst>
            <pc:docMk/>
            <pc:sldMk cId="3544187937" sldId="1361"/>
            <ac:spMk id="9" creationId="{F6B4FEA6-3C17-4511-BB8F-8EE6DD883ECA}"/>
          </ac:spMkLst>
        </pc:spChg>
        <pc:spChg chg="mod">
          <ac:chgData name="Piszker Gyorgy" userId="23be8501-6898-4303-ac47-0dd2dc8e306a" providerId="ADAL" clId="{2F5DE452-78C3-4C09-8E7A-2977B1A0B10A}" dt="2023-05-28T11:08:23.170" v="703" actId="1076"/>
          <ac:spMkLst>
            <pc:docMk/>
            <pc:sldMk cId="3544187937" sldId="1361"/>
            <ac:spMk id="10" creationId="{CE8EEE56-0F76-4ACF-BD59-97F0632865CF}"/>
          </ac:spMkLst>
        </pc:spChg>
        <pc:spChg chg="del">
          <ac:chgData name="Piszker Gyorgy" userId="23be8501-6898-4303-ac47-0dd2dc8e306a" providerId="ADAL" clId="{2F5DE452-78C3-4C09-8E7A-2977B1A0B10A}" dt="2023-05-28T10:36:21.275" v="568" actId="478"/>
          <ac:spMkLst>
            <pc:docMk/>
            <pc:sldMk cId="3544187937" sldId="1361"/>
            <ac:spMk id="11" creationId="{A92BA684-D246-48A1-AC71-28A918CA5F04}"/>
          </ac:spMkLst>
        </pc:spChg>
        <pc:spChg chg="mod ord">
          <ac:chgData name="Piszker Gyorgy" userId="23be8501-6898-4303-ac47-0dd2dc8e306a" providerId="ADAL" clId="{2F5DE452-78C3-4C09-8E7A-2977B1A0B10A}" dt="2023-05-30T03:38:54.978" v="2724" actId="14100"/>
          <ac:spMkLst>
            <pc:docMk/>
            <pc:sldMk cId="3544187937" sldId="1361"/>
            <ac:spMk id="12" creationId="{9E3B40A3-1E0F-4449-9A92-A4D10B006009}"/>
          </ac:spMkLst>
        </pc:spChg>
        <pc:spChg chg="add mod">
          <ac:chgData name="Piszker Gyorgy" userId="23be8501-6898-4303-ac47-0dd2dc8e306a" providerId="ADAL" clId="{2F5DE452-78C3-4C09-8E7A-2977B1A0B10A}" dt="2023-05-30T04:26:01.151" v="3076" actId="1076"/>
          <ac:spMkLst>
            <pc:docMk/>
            <pc:sldMk cId="3544187937" sldId="1361"/>
            <ac:spMk id="13" creationId="{4EDA2489-895B-8DA5-09E0-CC8491F767BA}"/>
          </ac:spMkLst>
        </pc:spChg>
        <pc:spChg chg="mod">
          <ac:chgData name="Piszker Gyorgy" userId="23be8501-6898-4303-ac47-0dd2dc8e306a" providerId="ADAL" clId="{2F5DE452-78C3-4C09-8E7A-2977B1A0B10A}" dt="2023-05-28T10:37:50.485" v="595" actId="1035"/>
          <ac:spMkLst>
            <pc:docMk/>
            <pc:sldMk cId="3544187937" sldId="1361"/>
            <ac:spMk id="14" creationId="{A651BAA2-BF38-A7EC-C37B-5F7CA32FA3D2}"/>
          </ac:spMkLst>
        </pc:spChg>
        <pc:spChg chg="mod">
          <ac:chgData name="Piszker Gyorgy" userId="23be8501-6898-4303-ac47-0dd2dc8e306a" providerId="ADAL" clId="{2F5DE452-78C3-4C09-8E7A-2977B1A0B10A}" dt="2023-05-30T04:22:48.433" v="3038" actId="122"/>
          <ac:spMkLst>
            <pc:docMk/>
            <pc:sldMk cId="3544187937" sldId="1361"/>
            <ac:spMk id="15" creationId="{BFE54554-6423-88F5-0AE4-EE9244395953}"/>
          </ac:spMkLst>
        </pc:spChg>
        <pc:spChg chg="mod">
          <ac:chgData name="Piszker Gyorgy" userId="23be8501-6898-4303-ac47-0dd2dc8e306a" providerId="ADAL" clId="{2F5DE452-78C3-4C09-8E7A-2977B1A0B10A}" dt="2023-05-28T10:37:50.485" v="595" actId="1035"/>
          <ac:spMkLst>
            <pc:docMk/>
            <pc:sldMk cId="3544187937" sldId="1361"/>
            <ac:spMk id="16" creationId="{892B79A1-956C-A972-7004-8F182993E4A4}"/>
          </ac:spMkLst>
        </pc:spChg>
        <pc:spChg chg="mod">
          <ac:chgData name="Piszker Gyorgy" userId="23be8501-6898-4303-ac47-0dd2dc8e306a" providerId="ADAL" clId="{2F5DE452-78C3-4C09-8E7A-2977B1A0B10A}" dt="2023-05-30T04:23:12.288" v="3044" actId="1038"/>
          <ac:spMkLst>
            <pc:docMk/>
            <pc:sldMk cId="3544187937" sldId="1361"/>
            <ac:spMk id="17" creationId="{D83175EB-58DF-2E92-1EE5-9CA199445C12}"/>
          </ac:spMkLst>
        </pc:spChg>
        <pc:spChg chg="mod">
          <ac:chgData name="Piszker Gyorgy" userId="23be8501-6898-4303-ac47-0dd2dc8e306a" providerId="ADAL" clId="{2F5DE452-78C3-4C09-8E7A-2977B1A0B10A}" dt="2023-05-28T10:37:50.485" v="595" actId="1035"/>
          <ac:spMkLst>
            <pc:docMk/>
            <pc:sldMk cId="3544187937" sldId="1361"/>
            <ac:spMk id="18" creationId="{CDEC277C-4113-B30A-DAC1-E060E54A4AF9}"/>
          </ac:spMkLst>
        </pc:spChg>
        <pc:spChg chg="del mod">
          <ac:chgData name="Piszker Gyorgy" userId="23be8501-6898-4303-ac47-0dd2dc8e306a" providerId="ADAL" clId="{2F5DE452-78C3-4C09-8E7A-2977B1A0B10A}" dt="2023-05-28T10:11:53.591" v="182" actId="478"/>
          <ac:spMkLst>
            <pc:docMk/>
            <pc:sldMk cId="3544187937" sldId="1361"/>
            <ac:spMk id="21" creationId="{E811F056-3C48-85F9-4D3E-8C6936143BA5}"/>
          </ac:spMkLst>
        </pc:spChg>
        <pc:spChg chg="mod ord">
          <ac:chgData name="Piszker Gyorgy" userId="23be8501-6898-4303-ac47-0dd2dc8e306a" providerId="ADAL" clId="{2F5DE452-78C3-4C09-8E7A-2977B1A0B10A}" dt="2023-05-30T04:25:03.816" v="3067" actId="14100"/>
          <ac:spMkLst>
            <pc:docMk/>
            <pc:sldMk cId="3544187937" sldId="1361"/>
            <ac:spMk id="22" creationId="{D680B48E-33AB-DBFE-6249-82BF2D846E86}"/>
          </ac:spMkLst>
        </pc:spChg>
        <pc:spChg chg="add del mod">
          <ac:chgData name="Piszker Gyorgy" userId="23be8501-6898-4303-ac47-0dd2dc8e306a" providerId="ADAL" clId="{2F5DE452-78C3-4C09-8E7A-2977B1A0B10A}" dt="2023-05-28T11:09:34.286" v="704" actId="478"/>
          <ac:spMkLst>
            <pc:docMk/>
            <pc:sldMk cId="3544187937" sldId="1361"/>
            <ac:spMk id="23" creationId="{B0865B17-EA79-A657-5CA0-BF5288886411}"/>
          </ac:spMkLst>
        </pc:spChg>
        <pc:picChg chg="add del mod">
          <ac:chgData name="Piszker Gyorgy" userId="23be8501-6898-4303-ac47-0dd2dc8e306a" providerId="ADAL" clId="{2F5DE452-78C3-4C09-8E7A-2977B1A0B10A}" dt="2023-05-31T06:16:49.255" v="3919" actId="478"/>
          <ac:picMkLst>
            <pc:docMk/>
            <pc:sldMk cId="3544187937" sldId="1361"/>
            <ac:picMk id="9" creationId="{54A874DE-76B2-3871-37EB-127016D5C252}"/>
          </ac:picMkLst>
        </pc:picChg>
        <pc:picChg chg="add mod">
          <ac:chgData name="Piszker Gyorgy" userId="23be8501-6898-4303-ac47-0dd2dc8e306a" providerId="ADAL" clId="{2F5DE452-78C3-4C09-8E7A-2977B1A0B10A}" dt="2023-05-31T06:17:06.665" v="3923" actId="1076"/>
          <ac:picMkLst>
            <pc:docMk/>
            <pc:sldMk cId="3544187937" sldId="1361"/>
            <ac:picMk id="11" creationId="{56FD3C22-BE21-6992-DCCD-7DA908F700BF}"/>
          </ac:picMkLst>
        </pc:picChg>
        <pc:picChg chg="add mod">
          <ac:chgData name="Piszker Gyorgy" userId="23be8501-6898-4303-ac47-0dd2dc8e306a" providerId="ADAL" clId="{2F5DE452-78C3-4C09-8E7A-2977B1A0B10A}" dt="2023-05-28T11:08:18.875" v="702" actId="1076"/>
          <ac:picMkLst>
            <pc:docMk/>
            <pc:sldMk cId="3544187937" sldId="1361"/>
            <ac:picMk id="19" creationId="{C32F764F-AFC2-7418-E249-C0C334782A51}"/>
          </ac:picMkLst>
        </pc:picChg>
      </pc:sldChg>
      <pc:sldChg chg="add del">
        <pc:chgData name="Piszker Gyorgy" userId="23be8501-6898-4303-ac47-0dd2dc8e306a" providerId="ADAL" clId="{2F5DE452-78C3-4C09-8E7A-2977B1A0B10A}" dt="2023-05-29T17:00:51.409" v="2634" actId="47"/>
        <pc:sldMkLst>
          <pc:docMk/>
          <pc:sldMk cId="819420348" sldId="1366"/>
        </pc:sldMkLst>
      </pc:sldChg>
      <pc:sldChg chg="addSp delSp modSp add mod delAnim">
        <pc:chgData name="Piszker Gyorgy" userId="23be8501-6898-4303-ac47-0dd2dc8e306a" providerId="ADAL" clId="{2F5DE452-78C3-4C09-8E7A-2977B1A0B10A}" dt="2023-05-31T06:16:17.352" v="3914" actId="1076"/>
        <pc:sldMkLst>
          <pc:docMk/>
          <pc:sldMk cId="309607376" sldId="1368"/>
        </pc:sldMkLst>
        <pc:spChg chg="mod">
          <ac:chgData name="Piszker Gyorgy" userId="23be8501-6898-4303-ac47-0dd2dc8e306a" providerId="ADAL" clId="{2F5DE452-78C3-4C09-8E7A-2977B1A0B10A}" dt="2023-05-28T10:24:09.944" v="500" actId="1035"/>
          <ac:spMkLst>
            <pc:docMk/>
            <pc:sldMk cId="309607376" sldId="1368"/>
            <ac:spMk id="2" creationId="{677D91F1-8EEC-4EF5-90DD-0C6770704AFC}"/>
          </ac:spMkLst>
        </pc:spChg>
        <pc:spChg chg="mod">
          <ac:chgData name="Piszker Gyorgy" userId="23be8501-6898-4303-ac47-0dd2dc8e306a" providerId="ADAL" clId="{2F5DE452-78C3-4C09-8E7A-2977B1A0B10A}" dt="2023-05-29T17:03:59.562" v="2690" actId="1036"/>
          <ac:spMkLst>
            <pc:docMk/>
            <pc:sldMk cId="309607376" sldId="1368"/>
            <ac:spMk id="4" creationId="{8C03BA85-91C3-757D-4247-30363F33424F}"/>
          </ac:spMkLst>
        </pc:spChg>
        <pc:spChg chg="mod">
          <ac:chgData name="Piszker Gyorgy" userId="23be8501-6898-4303-ac47-0dd2dc8e306a" providerId="ADAL" clId="{2F5DE452-78C3-4C09-8E7A-2977B1A0B10A}" dt="2023-05-29T17:03:59.562" v="2690" actId="1036"/>
          <ac:spMkLst>
            <pc:docMk/>
            <pc:sldMk cId="309607376" sldId="1368"/>
            <ac:spMk id="5" creationId="{E0AB23A4-EC84-807B-CA87-A0626706937E}"/>
          </ac:spMkLst>
        </pc:spChg>
        <pc:spChg chg="mod">
          <ac:chgData name="Piszker Gyorgy" userId="23be8501-6898-4303-ac47-0dd2dc8e306a" providerId="ADAL" clId="{2F5DE452-78C3-4C09-8E7A-2977B1A0B10A}" dt="2023-05-29T17:03:59.562" v="2690" actId="1036"/>
          <ac:spMkLst>
            <pc:docMk/>
            <pc:sldMk cId="309607376" sldId="1368"/>
            <ac:spMk id="7" creationId="{C172B489-FF26-AF49-0487-8069897F3B42}"/>
          </ac:spMkLst>
        </pc:spChg>
        <pc:spChg chg="mod">
          <ac:chgData name="Piszker Gyorgy" userId="23be8501-6898-4303-ac47-0dd2dc8e306a" providerId="ADAL" clId="{2F5DE452-78C3-4C09-8E7A-2977B1A0B10A}" dt="2023-05-28T10:24:09.944" v="500" actId="1035"/>
          <ac:spMkLst>
            <pc:docMk/>
            <pc:sldMk cId="309607376" sldId="1368"/>
            <ac:spMk id="9" creationId="{F6B4FEA6-3C17-4511-BB8F-8EE6DD883ECA}"/>
          </ac:spMkLst>
        </pc:spChg>
        <pc:spChg chg="del mod">
          <ac:chgData name="Piszker Gyorgy" userId="23be8501-6898-4303-ac47-0dd2dc8e306a" providerId="ADAL" clId="{2F5DE452-78C3-4C09-8E7A-2977B1A0B10A}" dt="2023-05-29T17:01:24.409" v="2636" actId="478"/>
          <ac:spMkLst>
            <pc:docMk/>
            <pc:sldMk cId="309607376" sldId="1368"/>
            <ac:spMk id="10" creationId="{CE8EEE56-0F76-4ACF-BD59-97F0632865CF}"/>
          </ac:spMkLst>
        </pc:spChg>
        <pc:spChg chg="del">
          <ac:chgData name="Piszker Gyorgy" userId="23be8501-6898-4303-ac47-0dd2dc8e306a" providerId="ADAL" clId="{2F5DE452-78C3-4C09-8E7A-2977B1A0B10A}" dt="2023-05-28T10:14:31.277" v="205" actId="478"/>
          <ac:spMkLst>
            <pc:docMk/>
            <pc:sldMk cId="309607376" sldId="1368"/>
            <ac:spMk id="11" creationId="{A92BA684-D246-48A1-AC71-28A918CA5F04}"/>
          </ac:spMkLst>
        </pc:spChg>
        <pc:spChg chg="del">
          <ac:chgData name="Piszker Gyorgy" userId="23be8501-6898-4303-ac47-0dd2dc8e306a" providerId="ADAL" clId="{2F5DE452-78C3-4C09-8E7A-2977B1A0B10A}" dt="2023-05-28T10:14:28.914" v="204" actId="478"/>
          <ac:spMkLst>
            <pc:docMk/>
            <pc:sldMk cId="309607376" sldId="1368"/>
            <ac:spMk id="12" creationId="{9E3B40A3-1E0F-4449-9A92-A4D10B006009}"/>
          </ac:spMkLst>
        </pc:spChg>
        <pc:spChg chg="mod">
          <ac:chgData name="Piszker Gyorgy" userId="23be8501-6898-4303-ac47-0dd2dc8e306a" providerId="ADAL" clId="{2F5DE452-78C3-4C09-8E7A-2977B1A0B10A}" dt="2023-05-29T17:05:27.405" v="2702" actId="20577"/>
          <ac:spMkLst>
            <pc:docMk/>
            <pc:sldMk cId="309607376" sldId="1368"/>
            <ac:spMk id="13" creationId="{8E21AA51-49EB-49B7-8323-9CAE3473C221}"/>
          </ac:spMkLst>
        </pc:spChg>
        <pc:spChg chg="mod">
          <ac:chgData name="Piszker Gyorgy" userId="23be8501-6898-4303-ac47-0dd2dc8e306a" providerId="ADAL" clId="{2F5DE452-78C3-4C09-8E7A-2977B1A0B10A}" dt="2023-05-29T17:03:59.562" v="2690" actId="1036"/>
          <ac:spMkLst>
            <pc:docMk/>
            <pc:sldMk cId="309607376" sldId="1368"/>
            <ac:spMk id="15" creationId="{E0B7F438-A2E0-314E-E93E-8DB1BA8EB671}"/>
          </ac:spMkLst>
        </pc:spChg>
        <pc:spChg chg="mod">
          <ac:chgData name="Piszker Gyorgy" userId="23be8501-6898-4303-ac47-0dd2dc8e306a" providerId="ADAL" clId="{2F5DE452-78C3-4C09-8E7A-2977B1A0B10A}" dt="2023-05-29T17:03:59.562" v="2690" actId="1036"/>
          <ac:spMkLst>
            <pc:docMk/>
            <pc:sldMk cId="309607376" sldId="1368"/>
            <ac:spMk id="16" creationId="{C6352F3B-F488-3241-668D-625E4FACAC40}"/>
          </ac:spMkLst>
        </pc:spChg>
        <pc:spChg chg="mod">
          <ac:chgData name="Piszker Gyorgy" userId="23be8501-6898-4303-ac47-0dd2dc8e306a" providerId="ADAL" clId="{2F5DE452-78C3-4C09-8E7A-2977B1A0B10A}" dt="2023-05-29T17:03:59.562" v="2690" actId="1036"/>
          <ac:spMkLst>
            <pc:docMk/>
            <pc:sldMk cId="309607376" sldId="1368"/>
            <ac:spMk id="17" creationId="{209CE4D1-B880-90CA-C559-1D83C6FBAEE3}"/>
          </ac:spMkLst>
        </pc:spChg>
        <pc:graphicFrameChg chg="del">
          <ac:chgData name="Piszker Gyorgy" userId="23be8501-6898-4303-ac47-0dd2dc8e306a" providerId="ADAL" clId="{2F5DE452-78C3-4C09-8E7A-2977B1A0B10A}" dt="2023-05-28T10:13:04.966" v="187" actId="478"/>
          <ac:graphicFrameMkLst>
            <pc:docMk/>
            <pc:sldMk cId="309607376" sldId="1368"/>
            <ac:graphicFrameMk id="8" creationId="{BAF6E918-5639-9492-CD20-468985FA0E57}"/>
          </ac:graphicFrameMkLst>
        </pc:graphicFrameChg>
        <pc:picChg chg="add mod">
          <ac:chgData name="Piszker Gyorgy" userId="23be8501-6898-4303-ac47-0dd2dc8e306a" providerId="ADAL" clId="{2F5DE452-78C3-4C09-8E7A-2977B1A0B10A}" dt="2023-05-31T06:16:17.352" v="3914" actId="1076"/>
          <ac:picMkLst>
            <pc:docMk/>
            <pc:sldMk cId="309607376" sldId="1368"/>
            <ac:picMk id="3" creationId="{62AA05BD-E929-F8DB-0EA0-B2F4939693C4}"/>
          </ac:picMkLst>
        </pc:picChg>
        <pc:picChg chg="add del mod">
          <ac:chgData name="Piszker Gyorgy" userId="23be8501-6898-4303-ac47-0dd2dc8e306a" providerId="ADAL" clId="{2F5DE452-78C3-4C09-8E7A-2977B1A0B10A}" dt="2023-05-28T10:12:59.552" v="186" actId="478"/>
          <ac:picMkLst>
            <pc:docMk/>
            <pc:sldMk cId="309607376" sldId="1368"/>
            <ac:picMk id="3" creationId="{6D7ECFDA-2BC1-D0B5-991B-C5FCA3F8F976}"/>
          </ac:picMkLst>
        </pc:picChg>
        <pc:picChg chg="add del mod">
          <ac:chgData name="Piszker Gyorgy" userId="23be8501-6898-4303-ac47-0dd2dc8e306a" providerId="ADAL" clId="{2F5DE452-78C3-4C09-8E7A-2977B1A0B10A}" dt="2023-05-29T17:06:56.770" v="2722"/>
          <ac:picMkLst>
            <pc:docMk/>
            <pc:sldMk cId="309607376" sldId="1368"/>
            <ac:picMk id="3" creationId="{FC37536A-31A6-3AAA-D7B0-769F0541CE5B}"/>
          </ac:picMkLst>
        </pc:picChg>
        <pc:picChg chg="add mod">
          <ac:chgData name="Piszker Gyorgy" userId="23be8501-6898-4303-ac47-0dd2dc8e306a" providerId="ADAL" clId="{2F5DE452-78C3-4C09-8E7A-2977B1A0B10A}" dt="2023-05-28T10:23:56.036" v="477"/>
          <ac:picMkLst>
            <pc:docMk/>
            <pc:sldMk cId="309607376" sldId="1368"/>
            <ac:picMk id="6" creationId="{1B4FAA1C-C066-0237-5047-2CE8B35745D4}"/>
          </ac:picMkLst>
        </pc:picChg>
      </pc:sldChg>
      <pc:sldChg chg="addSp delSp modSp add mod modAnim">
        <pc:chgData name="Piszker Gyorgy" userId="23be8501-6898-4303-ac47-0dd2dc8e306a" providerId="ADAL" clId="{2F5DE452-78C3-4C09-8E7A-2977B1A0B10A}" dt="2023-05-31T06:16:24.997" v="3915"/>
        <pc:sldMkLst>
          <pc:docMk/>
          <pc:sldMk cId="362151926" sldId="1369"/>
        </pc:sldMkLst>
        <pc:spChg chg="mod">
          <ac:chgData name="Piszker Gyorgy" userId="23be8501-6898-4303-ac47-0dd2dc8e306a" providerId="ADAL" clId="{2F5DE452-78C3-4C09-8E7A-2977B1A0B10A}" dt="2023-05-28T10:34:32.946" v="559" actId="1076"/>
          <ac:spMkLst>
            <pc:docMk/>
            <pc:sldMk cId="362151926" sldId="1369"/>
            <ac:spMk id="2" creationId="{677D91F1-8EEC-4EF5-90DD-0C6770704AFC}"/>
          </ac:spMkLst>
        </pc:spChg>
        <pc:spChg chg="add del mod">
          <ac:chgData name="Piszker Gyorgy" userId="23be8501-6898-4303-ac47-0dd2dc8e306a" providerId="ADAL" clId="{2F5DE452-78C3-4C09-8E7A-2977B1A0B10A}" dt="2023-05-29T17:06:48.385" v="2720" actId="478"/>
          <ac:spMkLst>
            <pc:docMk/>
            <pc:sldMk cId="362151926" sldId="1369"/>
            <ac:spMk id="5" creationId="{43D6F8B6-E1E9-A789-3817-03758B29A57F}"/>
          </ac:spMkLst>
        </pc:spChg>
        <pc:spChg chg="mod">
          <ac:chgData name="Piszker Gyorgy" userId="23be8501-6898-4303-ac47-0dd2dc8e306a" providerId="ADAL" clId="{2F5DE452-78C3-4C09-8E7A-2977B1A0B10A}" dt="2023-05-28T10:34:21.751" v="558" actId="1076"/>
          <ac:spMkLst>
            <pc:docMk/>
            <pc:sldMk cId="362151926" sldId="1369"/>
            <ac:spMk id="6" creationId="{6F726DB0-306A-F3F0-4149-75E42E771618}"/>
          </ac:spMkLst>
        </pc:spChg>
        <pc:spChg chg="mod">
          <ac:chgData name="Piszker Gyorgy" userId="23be8501-6898-4303-ac47-0dd2dc8e306a" providerId="ADAL" clId="{2F5DE452-78C3-4C09-8E7A-2977B1A0B10A}" dt="2023-05-28T10:34:21.751" v="558" actId="1076"/>
          <ac:spMkLst>
            <pc:docMk/>
            <pc:sldMk cId="362151926" sldId="1369"/>
            <ac:spMk id="9" creationId="{F6B4FEA6-3C17-4511-BB8F-8EE6DD883ECA}"/>
          </ac:spMkLst>
        </pc:spChg>
        <pc:spChg chg="del mod">
          <ac:chgData name="Piszker Gyorgy" userId="23be8501-6898-4303-ac47-0dd2dc8e306a" providerId="ADAL" clId="{2F5DE452-78C3-4C09-8E7A-2977B1A0B10A}" dt="2023-05-29T17:06:24.607" v="2716" actId="478"/>
          <ac:spMkLst>
            <pc:docMk/>
            <pc:sldMk cId="362151926" sldId="1369"/>
            <ac:spMk id="10" creationId="{CE8EEE56-0F76-4ACF-BD59-97F0632865CF}"/>
          </ac:spMkLst>
        </pc:spChg>
        <pc:spChg chg="del">
          <ac:chgData name="Piszker Gyorgy" userId="23be8501-6898-4303-ac47-0dd2dc8e306a" providerId="ADAL" clId="{2F5DE452-78C3-4C09-8E7A-2977B1A0B10A}" dt="2023-05-28T10:33:31.588" v="504" actId="478"/>
          <ac:spMkLst>
            <pc:docMk/>
            <pc:sldMk cId="362151926" sldId="1369"/>
            <ac:spMk id="11" creationId="{A92BA684-D246-48A1-AC71-28A918CA5F04}"/>
          </ac:spMkLst>
        </pc:spChg>
        <pc:spChg chg="del">
          <ac:chgData name="Piszker Gyorgy" userId="23be8501-6898-4303-ac47-0dd2dc8e306a" providerId="ADAL" clId="{2F5DE452-78C3-4C09-8E7A-2977B1A0B10A}" dt="2023-05-28T10:33:28.371" v="503" actId="478"/>
          <ac:spMkLst>
            <pc:docMk/>
            <pc:sldMk cId="362151926" sldId="1369"/>
            <ac:spMk id="12" creationId="{9E3B40A3-1E0F-4449-9A92-A4D10B006009}"/>
          </ac:spMkLst>
        </pc:spChg>
        <pc:spChg chg="mod">
          <ac:chgData name="Piszker Gyorgy" userId="23be8501-6898-4303-ac47-0dd2dc8e306a" providerId="ADAL" clId="{2F5DE452-78C3-4C09-8E7A-2977B1A0B10A}" dt="2023-05-28T10:34:21.751" v="558" actId="1076"/>
          <ac:spMkLst>
            <pc:docMk/>
            <pc:sldMk cId="362151926" sldId="1369"/>
            <ac:spMk id="16" creationId="{FD130FF5-F127-F68A-9B1B-B080B974BC5C}"/>
          </ac:spMkLst>
        </pc:spChg>
        <pc:spChg chg="mod">
          <ac:chgData name="Piszker Gyorgy" userId="23be8501-6898-4303-ac47-0dd2dc8e306a" providerId="ADAL" clId="{2F5DE452-78C3-4C09-8E7A-2977B1A0B10A}" dt="2023-05-29T17:06:21.301" v="2715" actId="1076"/>
          <ac:spMkLst>
            <pc:docMk/>
            <pc:sldMk cId="362151926" sldId="1369"/>
            <ac:spMk id="18" creationId="{BDAA47B2-01FF-1EDA-9240-8137E893F01C}"/>
          </ac:spMkLst>
        </pc:spChg>
        <pc:spChg chg="mod">
          <ac:chgData name="Piszker Gyorgy" userId="23be8501-6898-4303-ac47-0dd2dc8e306a" providerId="ADAL" clId="{2F5DE452-78C3-4C09-8E7A-2977B1A0B10A}" dt="2023-05-28T10:34:21.751" v="558" actId="1076"/>
          <ac:spMkLst>
            <pc:docMk/>
            <pc:sldMk cId="362151926" sldId="1369"/>
            <ac:spMk id="19" creationId="{B09F6C1F-0462-B98A-DE88-45F5FC20099F}"/>
          </ac:spMkLst>
        </pc:spChg>
        <pc:spChg chg="mod">
          <ac:chgData name="Piszker Gyorgy" userId="23be8501-6898-4303-ac47-0dd2dc8e306a" providerId="ADAL" clId="{2F5DE452-78C3-4C09-8E7A-2977B1A0B10A}" dt="2023-05-28T11:06:29.710" v="696" actId="20577"/>
          <ac:spMkLst>
            <pc:docMk/>
            <pc:sldMk cId="362151926" sldId="1369"/>
            <ac:spMk id="20" creationId="{04C168F6-2731-604A-4214-A787BB5EEA22}"/>
          </ac:spMkLst>
        </pc:spChg>
        <pc:picChg chg="add mod">
          <ac:chgData name="Piszker Gyorgy" userId="23be8501-6898-4303-ac47-0dd2dc8e306a" providerId="ADAL" clId="{2F5DE452-78C3-4C09-8E7A-2977B1A0B10A}" dt="2023-05-31T06:16:24.997" v="3915"/>
          <ac:picMkLst>
            <pc:docMk/>
            <pc:sldMk cId="362151926" sldId="1369"/>
            <ac:picMk id="3" creationId="{00FD9665-EF2E-37EC-75F5-0EF454289A1D}"/>
          </ac:picMkLst>
        </pc:picChg>
        <pc:picChg chg="add del mod">
          <ac:chgData name="Piszker Gyorgy" userId="23be8501-6898-4303-ac47-0dd2dc8e306a" providerId="ADAL" clId="{2F5DE452-78C3-4C09-8E7A-2977B1A0B10A}" dt="2023-05-29T17:06:38.911" v="2719" actId="478"/>
          <ac:picMkLst>
            <pc:docMk/>
            <pc:sldMk cId="362151926" sldId="1369"/>
            <ac:picMk id="3" creationId="{DCBBAF35-F7D2-5463-E667-872FA6C729D8}"/>
          </ac:picMkLst>
        </pc:picChg>
        <pc:picChg chg="add mod">
          <ac:chgData name="Piszker Gyorgy" userId="23be8501-6898-4303-ac47-0dd2dc8e306a" providerId="ADAL" clId="{2F5DE452-78C3-4C09-8E7A-2977B1A0B10A}" dt="2023-05-29T17:06:59.526" v="2723"/>
          <ac:picMkLst>
            <pc:docMk/>
            <pc:sldMk cId="362151926" sldId="1369"/>
            <ac:picMk id="7" creationId="{BCB11175-3222-28AC-2416-2A9DBC8A6F1E}"/>
          </ac:picMkLst>
        </pc:picChg>
      </pc:sldChg>
      <pc:sldChg chg="add del">
        <pc:chgData name="Piszker Gyorgy" userId="23be8501-6898-4303-ac47-0dd2dc8e306a" providerId="ADAL" clId="{2F5DE452-78C3-4C09-8E7A-2977B1A0B10A}" dt="2023-05-29T17:00:51.409" v="2634" actId="47"/>
        <pc:sldMkLst>
          <pc:docMk/>
          <pc:sldMk cId="1769988051" sldId="1370"/>
        </pc:sldMkLst>
      </pc:sldChg>
      <pc:sldChg chg="add del">
        <pc:chgData name="Piszker Gyorgy" userId="23be8501-6898-4303-ac47-0dd2dc8e306a" providerId="ADAL" clId="{2F5DE452-78C3-4C09-8E7A-2977B1A0B10A}" dt="2023-05-29T17:00:51.409" v="2634" actId="47"/>
        <pc:sldMkLst>
          <pc:docMk/>
          <pc:sldMk cId="3900284173" sldId="1371"/>
        </pc:sldMkLst>
      </pc:sldChg>
      <pc:sldChg chg="add del">
        <pc:chgData name="Piszker Gyorgy" userId="23be8501-6898-4303-ac47-0dd2dc8e306a" providerId="ADAL" clId="{2F5DE452-78C3-4C09-8E7A-2977B1A0B10A}" dt="2023-05-29T17:00:51.409" v="2634" actId="47"/>
        <pc:sldMkLst>
          <pc:docMk/>
          <pc:sldMk cId="3886705029" sldId="1372"/>
        </pc:sldMkLst>
      </pc:sldChg>
      <pc:sldChg chg="addSp modSp add mod">
        <pc:chgData name="Piszker Gyorgy" userId="23be8501-6898-4303-ac47-0dd2dc8e306a" providerId="ADAL" clId="{2F5DE452-78C3-4C09-8E7A-2977B1A0B10A}" dt="2023-06-01T13:24:52.101" v="4154" actId="20577"/>
        <pc:sldMkLst>
          <pc:docMk/>
          <pc:sldMk cId="1396098470" sldId="1373"/>
        </pc:sldMkLst>
        <pc:spChg chg="mod">
          <ac:chgData name="Piszker Gyorgy" userId="23be8501-6898-4303-ac47-0dd2dc8e306a" providerId="ADAL" clId="{2F5DE452-78C3-4C09-8E7A-2977B1A0B10A}" dt="2023-06-01T13:24:52.101" v="4154" actId="20577"/>
          <ac:spMkLst>
            <pc:docMk/>
            <pc:sldMk cId="1396098470" sldId="1373"/>
            <ac:spMk id="3" creationId="{7F90428B-993E-B050-A087-4BDC9CCD9A19}"/>
          </ac:spMkLst>
        </pc:spChg>
        <pc:picChg chg="add mod">
          <ac:chgData name="Piszker Gyorgy" userId="23be8501-6898-4303-ac47-0dd2dc8e306a" providerId="ADAL" clId="{2F5DE452-78C3-4C09-8E7A-2977B1A0B10A}" dt="2023-05-30T04:15:40.203" v="2877"/>
          <ac:picMkLst>
            <pc:docMk/>
            <pc:sldMk cId="1396098470" sldId="1373"/>
            <ac:picMk id="4" creationId="{8DE83279-C783-B9F5-615C-F4DA687CC9DF}"/>
          </ac:picMkLst>
        </pc:picChg>
        <pc:picChg chg="add mod">
          <ac:chgData name="Piszker Gyorgy" userId="23be8501-6898-4303-ac47-0dd2dc8e306a" providerId="ADAL" clId="{2F5DE452-78C3-4C09-8E7A-2977B1A0B10A}" dt="2023-05-31T06:18:32.314" v="3942"/>
          <ac:picMkLst>
            <pc:docMk/>
            <pc:sldMk cId="1396098470" sldId="1373"/>
            <ac:picMk id="5" creationId="{80B3B36F-1211-D7CA-5253-14D646A159DF}"/>
          </ac:picMkLst>
        </pc:picChg>
      </pc:sldChg>
      <pc:sldChg chg="add del">
        <pc:chgData name="Piszker Gyorgy" userId="23be8501-6898-4303-ac47-0dd2dc8e306a" providerId="ADAL" clId="{2F5DE452-78C3-4C09-8E7A-2977B1A0B10A}" dt="2023-05-29T16:59:10.358" v="2632" actId="47"/>
        <pc:sldMkLst>
          <pc:docMk/>
          <pc:sldMk cId="2211072618" sldId="1374"/>
        </pc:sldMkLst>
      </pc:sldChg>
      <pc:sldChg chg="addSp modSp new mod ord">
        <pc:chgData name="Piszker Gyorgy" userId="23be8501-6898-4303-ac47-0dd2dc8e306a" providerId="ADAL" clId="{2F5DE452-78C3-4C09-8E7A-2977B1A0B10A}" dt="2023-05-31T06:17:56.580" v="3928"/>
        <pc:sldMkLst>
          <pc:docMk/>
          <pc:sldMk cId="574434275" sldId="1375"/>
        </pc:sldMkLst>
        <pc:spChg chg="mod">
          <ac:chgData name="Piszker Gyorgy" userId="23be8501-6898-4303-ac47-0dd2dc8e306a" providerId="ADAL" clId="{2F5DE452-78C3-4C09-8E7A-2977B1A0B10A}" dt="2023-05-29T15:22:36.450" v="1316" actId="20577"/>
          <ac:spMkLst>
            <pc:docMk/>
            <pc:sldMk cId="574434275" sldId="1375"/>
            <ac:spMk id="4" creationId="{F3CC4D12-D26A-7D1B-04BB-422D9483B7F0}"/>
          </ac:spMkLst>
        </pc:spChg>
        <pc:picChg chg="add mod">
          <ac:chgData name="Piszker Gyorgy" userId="23be8501-6898-4303-ac47-0dd2dc8e306a" providerId="ADAL" clId="{2F5DE452-78C3-4C09-8E7A-2977B1A0B10A}" dt="2023-05-29T14:57:14.464" v="761"/>
          <ac:picMkLst>
            <pc:docMk/>
            <pc:sldMk cId="574434275" sldId="1375"/>
            <ac:picMk id="7" creationId="{9EE35D52-7446-48BA-2AC9-70773C45DFDD}"/>
          </ac:picMkLst>
        </pc:picChg>
        <pc:picChg chg="add mod">
          <ac:chgData name="Piszker Gyorgy" userId="23be8501-6898-4303-ac47-0dd2dc8e306a" providerId="ADAL" clId="{2F5DE452-78C3-4C09-8E7A-2977B1A0B10A}" dt="2023-05-31T06:17:56.580" v="3928"/>
          <ac:picMkLst>
            <pc:docMk/>
            <pc:sldMk cId="574434275" sldId="1375"/>
            <ac:picMk id="8" creationId="{B0CEE4C9-413B-F3A9-7355-2D38C592DB57}"/>
          </ac:picMkLst>
        </pc:picChg>
      </pc:sldChg>
      <pc:sldChg chg="addSp delSp modSp add mod">
        <pc:chgData name="Piszker Gyorgy" userId="23be8501-6898-4303-ac47-0dd2dc8e306a" providerId="ADAL" clId="{2F5DE452-78C3-4C09-8E7A-2977B1A0B10A}" dt="2023-05-31T06:18:02.672" v="3930"/>
        <pc:sldMkLst>
          <pc:docMk/>
          <pc:sldMk cId="2822855606" sldId="1376"/>
        </pc:sldMkLst>
        <pc:spChg chg="mod ord">
          <ac:chgData name="Piszker Gyorgy" userId="23be8501-6898-4303-ac47-0dd2dc8e306a" providerId="ADAL" clId="{2F5DE452-78C3-4C09-8E7A-2977B1A0B10A}" dt="2023-05-29T15:24:35.207" v="1372" actId="1076"/>
          <ac:spMkLst>
            <pc:docMk/>
            <pc:sldMk cId="2822855606" sldId="1376"/>
            <ac:spMk id="4" creationId="{F3CC4D12-D26A-7D1B-04BB-422D9483B7F0}"/>
          </ac:spMkLst>
        </pc:spChg>
        <pc:picChg chg="add mod">
          <ac:chgData name="Piszker Gyorgy" userId="23be8501-6898-4303-ac47-0dd2dc8e306a" providerId="ADAL" clId="{2F5DE452-78C3-4C09-8E7A-2977B1A0B10A}" dt="2023-05-31T06:18:02.672" v="3930"/>
          <ac:picMkLst>
            <pc:docMk/>
            <pc:sldMk cId="2822855606" sldId="1376"/>
            <ac:picMk id="8" creationId="{44B7A86D-81C0-17C0-4C14-2600F16FD02B}"/>
          </ac:picMkLst>
        </pc:picChg>
        <pc:picChg chg="add del mod">
          <ac:chgData name="Piszker Gyorgy" userId="23be8501-6898-4303-ac47-0dd2dc8e306a" providerId="ADAL" clId="{2F5DE452-78C3-4C09-8E7A-2977B1A0B10A}" dt="2023-05-29T15:34:01.743" v="1683" actId="478"/>
          <ac:picMkLst>
            <pc:docMk/>
            <pc:sldMk cId="2822855606" sldId="1376"/>
            <ac:picMk id="9" creationId="{22F4046B-45C1-F771-15C2-CDC672CBC13D}"/>
          </ac:picMkLst>
        </pc:picChg>
        <pc:picChg chg="add del mod">
          <ac:chgData name="Piszker Gyorgy" userId="23be8501-6898-4303-ac47-0dd2dc8e306a" providerId="ADAL" clId="{2F5DE452-78C3-4C09-8E7A-2977B1A0B10A}" dt="2023-05-30T04:45:44.894" v="3316" actId="478"/>
          <ac:picMkLst>
            <pc:docMk/>
            <pc:sldMk cId="2822855606" sldId="1376"/>
            <ac:picMk id="11" creationId="{B708ED95-CB3F-34EE-8757-349326455215}"/>
          </ac:picMkLst>
        </pc:picChg>
        <pc:picChg chg="add mod">
          <ac:chgData name="Piszker Gyorgy" userId="23be8501-6898-4303-ac47-0dd2dc8e306a" providerId="ADAL" clId="{2F5DE452-78C3-4C09-8E7A-2977B1A0B10A}" dt="2023-05-30T04:46:00.651" v="3319" actId="1076"/>
          <ac:picMkLst>
            <pc:docMk/>
            <pc:sldMk cId="2822855606" sldId="1376"/>
            <ac:picMk id="13" creationId="{8B657A7E-5FB8-282D-4D11-7526AA14B9F9}"/>
          </ac:picMkLst>
        </pc:picChg>
        <pc:picChg chg="add del mod">
          <ac:chgData name="Piszker Gyorgy" userId="23be8501-6898-4303-ac47-0dd2dc8e306a" providerId="ADAL" clId="{2F5DE452-78C3-4C09-8E7A-2977B1A0B10A}" dt="2023-05-30T04:46:43.631" v="3325" actId="21"/>
          <ac:picMkLst>
            <pc:docMk/>
            <pc:sldMk cId="2822855606" sldId="1376"/>
            <ac:picMk id="14" creationId="{6E1397AB-17A9-BBBF-70E2-FFC41AEF9158}"/>
          </ac:picMkLst>
        </pc:picChg>
        <pc:picChg chg="add del mod">
          <ac:chgData name="Piszker Gyorgy" userId="23be8501-6898-4303-ac47-0dd2dc8e306a" providerId="ADAL" clId="{2F5DE452-78C3-4C09-8E7A-2977B1A0B10A}" dt="2023-05-30T04:47:35.472" v="3335" actId="21"/>
          <ac:picMkLst>
            <pc:docMk/>
            <pc:sldMk cId="2822855606" sldId="1376"/>
            <ac:picMk id="16" creationId="{708A2ECA-8AB4-621E-24FE-116DC1843281}"/>
          </ac:picMkLst>
        </pc:picChg>
        <pc:picChg chg="add del mod">
          <ac:chgData name="Piszker Gyorgy" userId="23be8501-6898-4303-ac47-0dd2dc8e306a" providerId="ADAL" clId="{2F5DE452-78C3-4C09-8E7A-2977B1A0B10A}" dt="2023-05-31T04:28:17.754" v="3495" actId="478"/>
          <ac:picMkLst>
            <pc:docMk/>
            <pc:sldMk cId="2822855606" sldId="1376"/>
            <ac:picMk id="18" creationId="{2EB1C9E6-F284-A7C1-A3B1-25C26604C880}"/>
          </ac:picMkLst>
        </pc:picChg>
      </pc:sldChg>
      <pc:sldChg chg="addSp delSp modSp add mod modAnim">
        <pc:chgData name="Piszker Gyorgy" userId="23be8501-6898-4303-ac47-0dd2dc8e306a" providerId="ADAL" clId="{2F5DE452-78C3-4C09-8E7A-2977B1A0B10A}" dt="2023-05-31T06:35:12.439" v="4012" actId="207"/>
        <pc:sldMkLst>
          <pc:docMk/>
          <pc:sldMk cId="822126241" sldId="1377"/>
        </pc:sldMkLst>
        <pc:spChg chg="add mod">
          <ac:chgData name="Piszker Gyorgy" userId="23be8501-6898-4303-ac47-0dd2dc8e306a" providerId="ADAL" clId="{2F5DE452-78C3-4C09-8E7A-2977B1A0B10A}" dt="2023-05-31T04:44:08.351" v="3784" actId="1076"/>
          <ac:spMkLst>
            <pc:docMk/>
            <pc:sldMk cId="822126241" sldId="1377"/>
            <ac:spMk id="18" creationId="{026149FA-7DE9-9823-58F0-43A95B6841CC}"/>
          </ac:spMkLst>
        </pc:spChg>
        <pc:spChg chg="add mod">
          <ac:chgData name="Piszker Gyorgy" userId="23be8501-6898-4303-ac47-0dd2dc8e306a" providerId="ADAL" clId="{2F5DE452-78C3-4C09-8E7A-2977B1A0B10A}" dt="2023-05-31T06:35:12.439" v="4012" actId="207"/>
          <ac:spMkLst>
            <pc:docMk/>
            <pc:sldMk cId="822126241" sldId="1377"/>
            <ac:spMk id="19" creationId="{C30570FF-1C5C-6CE1-3C33-4770F537B65D}"/>
          </ac:spMkLst>
        </pc:spChg>
        <pc:spChg chg="add del mod">
          <ac:chgData name="Piszker Gyorgy" userId="23be8501-6898-4303-ac47-0dd2dc8e306a" providerId="ADAL" clId="{2F5DE452-78C3-4C09-8E7A-2977B1A0B10A}" dt="2023-05-31T04:42:54.252" v="3763" actId="478"/>
          <ac:spMkLst>
            <pc:docMk/>
            <pc:sldMk cId="822126241" sldId="1377"/>
            <ac:spMk id="20" creationId="{EB9AF848-086B-4B91-B14B-128A7B056B89}"/>
          </ac:spMkLst>
        </pc:spChg>
        <pc:spChg chg="add mod">
          <ac:chgData name="Piszker Gyorgy" userId="23be8501-6898-4303-ac47-0dd2dc8e306a" providerId="ADAL" clId="{2F5DE452-78C3-4C09-8E7A-2977B1A0B10A}" dt="2023-05-31T06:35:12.439" v="4012" actId="207"/>
          <ac:spMkLst>
            <pc:docMk/>
            <pc:sldMk cId="822126241" sldId="1377"/>
            <ac:spMk id="21" creationId="{AE2FB5A2-1DB6-C078-E27C-E5A1D7E6029E}"/>
          </ac:spMkLst>
        </pc:spChg>
        <pc:spChg chg="add mod">
          <ac:chgData name="Piszker Gyorgy" userId="23be8501-6898-4303-ac47-0dd2dc8e306a" providerId="ADAL" clId="{2F5DE452-78C3-4C09-8E7A-2977B1A0B10A}" dt="2023-05-31T06:35:12.439" v="4012" actId="207"/>
          <ac:spMkLst>
            <pc:docMk/>
            <pc:sldMk cId="822126241" sldId="1377"/>
            <ac:spMk id="22" creationId="{7DC31932-5314-F0D1-1FC6-891ABA978529}"/>
          </ac:spMkLst>
        </pc:spChg>
        <pc:picChg chg="add mod">
          <ac:chgData name="Piszker Gyorgy" userId="23be8501-6898-4303-ac47-0dd2dc8e306a" providerId="ADAL" clId="{2F5DE452-78C3-4C09-8E7A-2977B1A0B10A}" dt="2023-05-31T06:22:25.029" v="3943"/>
          <ac:picMkLst>
            <pc:docMk/>
            <pc:sldMk cId="822126241" sldId="1377"/>
            <ac:picMk id="8" creationId="{8B5A904A-3DAF-0D11-E484-D4742282FC81}"/>
          </ac:picMkLst>
        </pc:picChg>
        <pc:picChg chg="del">
          <ac:chgData name="Piszker Gyorgy" userId="23be8501-6898-4303-ac47-0dd2dc8e306a" providerId="ADAL" clId="{2F5DE452-78C3-4C09-8E7A-2977B1A0B10A}" dt="2023-05-29T15:24:56.867" v="1374" actId="478"/>
          <ac:picMkLst>
            <pc:docMk/>
            <pc:sldMk cId="822126241" sldId="1377"/>
            <ac:picMk id="9" creationId="{22F4046B-45C1-F771-15C2-CDC672CBC13D}"/>
          </ac:picMkLst>
        </pc:picChg>
        <pc:picChg chg="add del mod">
          <ac:chgData name="Piszker Gyorgy" userId="23be8501-6898-4303-ac47-0dd2dc8e306a" providerId="ADAL" clId="{2F5DE452-78C3-4C09-8E7A-2977B1A0B10A}" dt="2023-05-29T15:34:39.861" v="1698" actId="478"/>
          <ac:picMkLst>
            <pc:docMk/>
            <pc:sldMk cId="822126241" sldId="1377"/>
            <ac:picMk id="10" creationId="{CD84E784-9E14-991A-6515-06CB2BBB200B}"/>
          </ac:picMkLst>
        </pc:picChg>
        <pc:picChg chg="add del mod">
          <ac:chgData name="Piszker Gyorgy" userId="23be8501-6898-4303-ac47-0dd2dc8e306a" providerId="ADAL" clId="{2F5DE452-78C3-4C09-8E7A-2977B1A0B10A}" dt="2023-05-30T04:46:11.869" v="3320" actId="478"/>
          <ac:picMkLst>
            <pc:docMk/>
            <pc:sldMk cId="822126241" sldId="1377"/>
            <ac:picMk id="12" creationId="{82E2B71F-850E-DF4D-6A67-9F9E1F5E3265}"/>
          </ac:picMkLst>
        </pc:picChg>
        <pc:picChg chg="add del mod">
          <ac:chgData name="Piszker Gyorgy" userId="23be8501-6898-4303-ac47-0dd2dc8e306a" providerId="ADAL" clId="{2F5DE452-78C3-4C09-8E7A-2977B1A0B10A}" dt="2023-05-30T04:46:46.447" v="3326" actId="478"/>
          <ac:picMkLst>
            <pc:docMk/>
            <pc:sldMk cId="822126241" sldId="1377"/>
            <ac:picMk id="14" creationId="{77918C22-373A-86A8-2AAA-BCC9187AFCCA}"/>
          </ac:picMkLst>
        </pc:picChg>
        <pc:picChg chg="add del mod">
          <ac:chgData name="Piszker Gyorgy" userId="23be8501-6898-4303-ac47-0dd2dc8e306a" providerId="ADAL" clId="{2F5DE452-78C3-4C09-8E7A-2977B1A0B10A}" dt="2023-05-30T04:47:04.036" v="3328" actId="478"/>
          <ac:picMkLst>
            <pc:docMk/>
            <pc:sldMk cId="822126241" sldId="1377"/>
            <ac:picMk id="15" creationId="{F5CAE816-D462-41CA-9470-492E494F22C4}"/>
          </ac:picMkLst>
        </pc:picChg>
        <pc:picChg chg="add del mod">
          <ac:chgData name="Piszker Gyorgy" userId="23be8501-6898-4303-ac47-0dd2dc8e306a" providerId="ADAL" clId="{2F5DE452-78C3-4C09-8E7A-2977B1A0B10A}" dt="2023-05-31T04:27:26.386" v="3486" actId="478"/>
          <ac:picMkLst>
            <pc:docMk/>
            <pc:sldMk cId="822126241" sldId="1377"/>
            <ac:picMk id="16" creationId="{16A98AB4-935B-CDB0-D739-EE79D4CA1F0F}"/>
          </ac:picMkLst>
        </pc:picChg>
        <pc:picChg chg="add mod">
          <ac:chgData name="Piszker Gyorgy" userId="23be8501-6898-4303-ac47-0dd2dc8e306a" providerId="ADAL" clId="{2F5DE452-78C3-4C09-8E7A-2977B1A0B10A}" dt="2023-05-31T04:27:53.958" v="3494"/>
          <ac:picMkLst>
            <pc:docMk/>
            <pc:sldMk cId="822126241" sldId="1377"/>
            <ac:picMk id="17" creationId="{92992274-836B-D89D-8DA7-965F3638D3AF}"/>
          </ac:picMkLst>
        </pc:picChg>
      </pc:sldChg>
      <pc:sldChg chg="addSp delSp modSp add mod">
        <pc:chgData name="Piszker Gyorgy" userId="23be8501-6898-4303-ac47-0dd2dc8e306a" providerId="ADAL" clId="{2F5DE452-78C3-4C09-8E7A-2977B1A0B10A}" dt="2023-05-31T06:18:06.965" v="3932"/>
        <pc:sldMkLst>
          <pc:docMk/>
          <pc:sldMk cId="4227065099" sldId="1378"/>
        </pc:sldMkLst>
        <pc:spChg chg="del">
          <ac:chgData name="Piszker Gyorgy" userId="23be8501-6898-4303-ac47-0dd2dc8e306a" providerId="ADAL" clId="{2F5DE452-78C3-4C09-8E7A-2977B1A0B10A}" dt="2023-05-29T15:26:19.993" v="1379" actId="478"/>
          <ac:spMkLst>
            <pc:docMk/>
            <pc:sldMk cId="4227065099" sldId="1378"/>
            <ac:spMk id="4" creationId="{F3CC4D12-D26A-7D1B-04BB-422D9483B7F0}"/>
          </ac:spMkLst>
        </pc:spChg>
        <pc:spChg chg="add del mod">
          <ac:chgData name="Piszker Gyorgy" userId="23be8501-6898-4303-ac47-0dd2dc8e306a" providerId="ADAL" clId="{2F5DE452-78C3-4C09-8E7A-2977B1A0B10A}" dt="2023-05-29T15:49:47.091" v="1736" actId="478"/>
          <ac:spMkLst>
            <pc:docMk/>
            <pc:sldMk cId="4227065099" sldId="1378"/>
            <ac:spMk id="9" creationId="{27B5DD96-A5F4-33E6-4EAB-FD64EA65866F}"/>
          </ac:spMkLst>
        </pc:spChg>
        <pc:spChg chg="add mod">
          <ac:chgData name="Piszker Gyorgy" userId="23be8501-6898-4303-ac47-0dd2dc8e306a" providerId="ADAL" clId="{2F5DE452-78C3-4C09-8E7A-2977B1A0B10A}" dt="2023-05-29T15:54:00.427" v="1821" actId="21"/>
          <ac:spMkLst>
            <pc:docMk/>
            <pc:sldMk cId="4227065099" sldId="1378"/>
            <ac:spMk id="13" creationId="{C2898F8F-50C0-B7C5-763B-807C82A77D1C}"/>
          </ac:spMkLst>
        </pc:spChg>
        <pc:spChg chg="add mod">
          <ac:chgData name="Piszker Gyorgy" userId="23be8501-6898-4303-ac47-0dd2dc8e306a" providerId="ADAL" clId="{2F5DE452-78C3-4C09-8E7A-2977B1A0B10A}" dt="2023-05-31T04:49:55.059" v="3865" actId="20577"/>
          <ac:spMkLst>
            <pc:docMk/>
            <pc:sldMk cId="4227065099" sldId="1378"/>
            <ac:spMk id="14" creationId="{30140A3D-EF88-2906-1C40-7A81E88AED1F}"/>
          </ac:spMkLst>
        </pc:spChg>
        <pc:picChg chg="add mod">
          <ac:chgData name="Piszker Gyorgy" userId="23be8501-6898-4303-ac47-0dd2dc8e306a" providerId="ADAL" clId="{2F5DE452-78C3-4C09-8E7A-2977B1A0B10A}" dt="2023-05-31T06:18:06.965" v="3932"/>
          <ac:picMkLst>
            <pc:docMk/>
            <pc:sldMk cId="4227065099" sldId="1378"/>
            <ac:picMk id="4" creationId="{2E5D52F6-00E8-1AEB-6CB2-E1F07F462B84}"/>
          </ac:picMkLst>
        </pc:picChg>
        <pc:picChg chg="del">
          <ac:chgData name="Piszker Gyorgy" userId="23be8501-6898-4303-ac47-0dd2dc8e306a" providerId="ADAL" clId="{2F5DE452-78C3-4C09-8E7A-2977B1A0B10A}" dt="2023-05-29T15:26:18.150" v="1378" actId="478"/>
          <ac:picMkLst>
            <pc:docMk/>
            <pc:sldMk cId="4227065099" sldId="1378"/>
            <ac:picMk id="10" creationId="{CD84E784-9E14-991A-6515-06CB2BBB200B}"/>
          </ac:picMkLst>
        </pc:picChg>
        <pc:picChg chg="add del mod">
          <ac:chgData name="Piszker Gyorgy" userId="23be8501-6898-4303-ac47-0dd2dc8e306a" providerId="ADAL" clId="{2F5DE452-78C3-4C09-8E7A-2977B1A0B10A}" dt="2023-05-29T15:49:43.972" v="1735" actId="478"/>
          <ac:picMkLst>
            <pc:docMk/>
            <pc:sldMk cId="4227065099" sldId="1378"/>
            <ac:picMk id="11" creationId="{090EE2D6-2A97-9EDD-327C-85E2CAE2C6CA}"/>
          </ac:picMkLst>
        </pc:picChg>
        <pc:picChg chg="add mod">
          <ac:chgData name="Piszker Gyorgy" userId="23be8501-6898-4303-ac47-0dd2dc8e306a" providerId="ADAL" clId="{2F5DE452-78C3-4C09-8E7A-2977B1A0B10A}" dt="2023-05-29T15:58:59.769" v="2126" actId="1038"/>
          <ac:picMkLst>
            <pc:docMk/>
            <pc:sldMk cId="4227065099" sldId="1378"/>
            <ac:picMk id="12" creationId="{1E5C63F7-7E28-420D-0480-714EE1AB5153}"/>
          </ac:picMkLst>
        </pc:picChg>
      </pc:sldChg>
      <pc:sldChg chg="modSp add del mod">
        <pc:chgData name="Piszker Gyorgy" userId="23be8501-6898-4303-ac47-0dd2dc8e306a" providerId="ADAL" clId="{2F5DE452-78C3-4C09-8E7A-2977B1A0B10A}" dt="2023-05-30T04:39:06.810" v="3314" actId="47"/>
        <pc:sldMkLst>
          <pc:docMk/>
          <pc:sldMk cId="503713483" sldId="1379"/>
        </pc:sldMkLst>
        <pc:spChg chg="mod">
          <ac:chgData name="Piszker Gyorgy" userId="23be8501-6898-4303-ac47-0dd2dc8e306a" providerId="ADAL" clId="{2F5DE452-78C3-4C09-8E7A-2977B1A0B10A}" dt="2023-05-30T04:38:55.436" v="3311" actId="14100"/>
          <ac:spMkLst>
            <pc:docMk/>
            <pc:sldMk cId="503713483" sldId="1379"/>
            <ac:spMk id="4" creationId="{F3CC4D12-D26A-7D1B-04BB-422D9483B7F0}"/>
          </ac:spMkLst>
        </pc:spChg>
      </pc:sldChg>
      <pc:sldChg chg="addSp delSp modSp add mod">
        <pc:chgData name="Piszker Gyorgy" userId="23be8501-6898-4303-ac47-0dd2dc8e306a" providerId="ADAL" clId="{2F5DE452-78C3-4C09-8E7A-2977B1A0B10A}" dt="2023-05-31T06:18:04.708" v="3931"/>
        <pc:sldMkLst>
          <pc:docMk/>
          <pc:sldMk cId="3089724545" sldId="1380"/>
        </pc:sldMkLst>
        <pc:spChg chg="mod">
          <ac:chgData name="Piszker Gyorgy" userId="23be8501-6898-4303-ac47-0dd2dc8e306a" providerId="ADAL" clId="{2F5DE452-78C3-4C09-8E7A-2977B1A0B10A}" dt="2023-05-29T15:36:54.878" v="1726" actId="20577"/>
          <ac:spMkLst>
            <pc:docMk/>
            <pc:sldMk cId="3089724545" sldId="1380"/>
            <ac:spMk id="4" creationId="{F3CC4D12-D26A-7D1B-04BB-422D9483B7F0}"/>
          </ac:spMkLst>
        </pc:spChg>
        <pc:picChg chg="add mod">
          <ac:chgData name="Piszker Gyorgy" userId="23be8501-6898-4303-ac47-0dd2dc8e306a" providerId="ADAL" clId="{2F5DE452-78C3-4C09-8E7A-2977B1A0B10A}" dt="2023-05-29T15:43:22.164" v="1733" actId="1076"/>
          <ac:picMkLst>
            <pc:docMk/>
            <pc:sldMk cId="3089724545" sldId="1380"/>
            <ac:picMk id="8" creationId="{2CD8E776-C7E4-7953-2C4A-6B4F933B41B2}"/>
          </ac:picMkLst>
        </pc:picChg>
        <pc:picChg chg="add mod">
          <ac:chgData name="Piszker Gyorgy" userId="23be8501-6898-4303-ac47-0dd2dc8e306a" providerId="ADAL" clId="{2F5DE452-78C3-4C09-8E7A-2977B1A0B10A}" dt="2023-05-31T06:18:04.708" v="3931"/>
          <ac:picMkLst>
            <pc:docMk/>
            <pc:sldMk cId="3089724545" sldId="1380"/>
            <ac:picMk id="9" creationId="{1945918C-09C5-9AAB-98A0-312A4BC384EA}"/>
          </ac:picMkLst>
        </pc:picChg>
        <pc:picChg chg="del">
          <ac:chgData name="Piszker Gyorgy" userId="23be8501-6898-4303-ac47-0dd2dc8e306a" providerId="ADAL" clId="{2F5DE452-78C3-4C09-8E7A-2977B1A0B10A}" dt="2023-05-29T15:36:57.230" v="1727" actId="478"/>
          <ac:picMkLst>
            <pc:docMk/>
            <pc:sldMk cId="3089724545" sldId="1380"/>
            <ac:picMk id="12" creationId="{82E2B71F-850E-DF4D-6A67-9F9E1F5E3265}"/>
          </ac:picMkLst>
        </pc:picChg>
      </pc:sldChg>
      <pc:sldChg chg="modSp add del">
        <pc:chgData name="Piszker Gyorgy" userId="23be8501-6898-4303-ac47-0dd2dc8e306a" providerId="ADAL" clId="{2F5DE452-78C3-4C09-8E7A-2977B1A0B10A}" dt="2023-05-31T04:50:48.347" v="3866" actId="2696"/>
        <pc:sldMkLst>
          <pc:docMk/>
          <pc:sldMk cId="4174478530" sldId="1381"/>
        </pc:sldMkLst>
        <pc:spChg chg="mod">
          <ac:chgData name="Piszker Gyorgy" userId="23be8501-6898-4303-ac47-0dd2dc8e306a" providerId="ADAL" clId="{2F5DE452-78C3-4C09-8E7A-2977B1A0B10A}" dt="2023-05-29T16:23:15.899" v="2321" actId="20578"/>
          <ac:spMkLst>
            <pc:docMk/>
            <pc:sldMk cId="4174478530" sldId="1381"/>
            <ac:spMk id="14" creationId="{30140A3D-EF88-2906-1C40-7A81E88AED1F}"/>
          </ac:spMkLst>
        </pc:spChg>
      </pc:sldChg>
      <pc:sldChg chg="addSp delSp modSp add mod">
        <pc:chgData name="Piszker Gyorgy" userId="23be8501-6898-4303-ac47-0dd2dc8e306a" providerId="ADAL" clId="{2F5DE452-78C3-4C09-8E7A-2977B1A0B10A}" dt="2023-05-31T06:18:11.499" v="3935"/>
        <pc:sldMkLst>
          <pc:docMk/>
          <pc:sldMk cId="3790249033" sldId="1382"/>
        </pc:sldMkLst>
        <pc:spChg chg="mod">
          <ac:chgData name="Piszker Gyorgy" userId="23be8501-6898-4303-ac47-0dd2dc8e306a" providerId="ADAL" clId="{2F5DE452-78C3-4C09-8E7A-2977B1A0B10A}" dt="2023-05-29T16:24:27.659" v="2352" actId="20577"/>
          <ac:spMkLst>
            <pc:docMk/>
            <pc:sldMk cId="3790249033" sldId="1382"/>
            <ac:spMk id="13" creationId="{C2898F8F-50C0-B7C5-763B-807C82A77D1C}"/>
          </ac:spMkLst>
        </pc:spChg>
        <pc:spChg chg="del">
          <ac:chgData name="Piszker Gyorgy" userId="23be8501-6898-4303-ac47-0dd2dc8e306a" providerId="ADAL" clId="{2F5DE452-78C3-4C09-8E7A-2977B1A0B10A}" dt="2023-05-29T16:23:29.751" v="2324" actId="478"/>
          <ac:spMkLst>
            <pc:docMk/>
            <pc:sldMk cId="3790249033" sldId="1382"/>
            <ac:spMk id="14" creationId="{30140A3D-EF88-2906-1C40-7A81E88AED1F}"/>
          </ac:spMkLst>
        </pc:spChg>
        <pc:picChg chg="add mod">
          <ac:chgData name="Piszker Gyorgy" userId="23be8501-6898-4303-ac47-0dd2dc8e306a" providerId="ADAL" clId="{2F5DE452-78C3-4C09-8E7A-2977B1A0B10A}" dt="2023-05-31T06:18:08.725" v="3933"/>
          <ac:picMkLst>
            <pc:docMk/>
            <pc:sldMk cId="3790249033" sldId="1382"/>
            <ac:picMk id="4" creationId="{E3F40258-A2A1-A292-F6E9-CCD7C96ADEF9}"/>
          </ac:picMkLst>
        </pc:picChg>
        <pc:picChg chg="add mod">
          <ac:chgData name="Piszker Gyorgy" userId="23be8501-6898-4303-ac47-0dd2dc8e306a" providerId="ADAL" clId="{2F5DE452-78C3-4C09-8E7A-2977B1A0B10A}" dt="2023-05-29T16:23:37.385" v="2326" actId="1076"/>
          <ac:picMkLst>
            <pc:docMk/>
            <pc:sldMk cId="3790249033" sldId="1382"/>
            <ac:picMk id="8" creationId="{A693E7BE-2251-AFC9-D6C4-43AB2D046C68}"/>
          </ac:picMkLst>
        </pc:picChg>
        <pc:picChg chg="add del mod">
          <ac:chgData name="Piszker Gyorgy" userId="23be8501-6898-4303-ac47-0dd2dc8e306a" providerId="ADAL" clId="{2F5DE452-78C3-4C09-8E7A-2977B1A0B10A}" dt="2023-05-31T06:18:11.499" v="3935"/>
          <ac:picMkLst>
            <pc:docMk/>
            <pc:sldMk cId="3790249033" sldId="1382"/>
            <ac:picMk id="9" creationId="{E0A446D0-1D8A-EFE4-190C-7241696D83A8}"/>
          </ac:picMkLst>
        </pc:picChg>
        <pc:picChg chg="del">
          <ac:chgData name="Piszker Gyorgy" userId="23be8501-6898-4303-ac47-0dd2dc8e306a" providerId="ADAL" clId="{2F5DE452-78C3-4C09-8E7A-2977B1A0B10A}" dt="2023-05-29T16:23:26.559" v="2323" actId="478"/>
          <ac:picMkLst>
            <pc:docMk/>
            <pc:sldMk cId="3790249033" sldId="1382"/>
            <ac:picMk id="12" creationId="{1E5C63F7-7E28-420D-0480-714EE1AB5153}"/>
          </ac:picMkLst>
        </pc:picChg>
      </pc:sldChg>
      <pc:sldChg chg="addSp delSp modSp add mod">
        <pc:chgData name="Piszker Gyorgy" userId="23be8501-6898-4303-ac47-0dd2dc8e306a" providerId="ADAL" clId="{2F5DE452-78C3-4C09-8E7A-2977B1A0B10A}" dt="2023-05-31T06:18:15.714" v="3936"/>
        <pc:sldMkLst>
          <pc:docMk/>
          <pc:sldMk cId="105941073" sldId="1383"/>
        </pc:sldMkLst>
        <pc:spChg chg="mod">
          <ac:chgData name="Piszker Gyorgy" userId="23be8501-6898-4303-ac47-0dd2dc8e306a" providerId="ADAL" clId="{2F5DE452-78C3-4C09-8E7A-2977B1A0B10A}" dt="2023-05-30T04:50:15.940" v="3393" actId="20577"/>
          <ac:spMkLst>
            <pc:docMk/>
            <pc:sldMk cId="105941073" sldId="1383"/>
            <ac:spMk id="13" creationId="{C2898F8F-50C0-B7C5-763B-807C82A77D1C}"/>
          </ac:spMkLst>
        </pc:spChg>
        <pc:picChg chg="add mod">
          <ac:chgData name="Piszker Gyorgy" userId="23be8501-6898-4303-ac47-0dd2dc8e306a" providerId="ADAL" clId="{2F5DE452-78C3-4C09-8E7A-2977B1A0B10A}" dt="2023-05-31T06:18:15.714" v="3936"/>
          <ac:picMkLst>
            <pc:docMk/>
            <pc:sldMk cId="105941073" sldId="1383"/>
            <ac:picMk id="4" creationId="{FB00888E-E7DD-332A-841D-79218166821E}"/>
          </ac:picMkLst>
        </pc:picChg>
        <pc:picChg chg="del">
          <ac:chgData name="Piszker Gyorgy" userId="23be8501-6898-4303-ac47-0dd2dc8e306a" providerId="ADAL" clId="{2F5DE452-78C3-4C09-8E7A-2977B1A0B10A}" dt="2023-05-29T16:24:40.255" v="2354" actId="478"/>
          <ac:picMkLst>
            <pc:docMk/>
            <pc:sldMk cId="105941073" sldId="1383"/>
            <ac:picMk id="8" creationId="{A693E7BE-2251-AFC9-D6C4-43AB2D046C68}"/>
          </ac:picMkLst>
        </pc:picChg>
        <pc:picChg chg="add mod ord">
          <ac:chgData name="Piszker Gyorgy" userId="23be8501-6898-4303-ac47-0dd2dc8e306a" providerId="ADAL" clId="{2F5DE452-78C3-4C09-8E7A-2977B1A0B10A}" dt="2023-05-29T16:34:06.216" v="2390" actId="167"/>
          <ac:picMkLst>
            <pc:docMk/>
            <pc:sldMk cId="105941073" sldId="1383"/>
            <ac:picMk id="9" creationId="{A0F4207C-1E5D-B468-DD30-AF7DB082DF72}"/>
          </ac:picMkLst>
        </pc:picChg>
        <pc:picChg chg="add del mod">
          <ac:chgData name="Piszker Gyorgy" userId="23be8501-6898-4303-ac47-0dd2dc8e306a" providerId="ADAL" clId="{2F5DE452-78C3-4C09-8E7A-2977B1A0B10A}" dt="2023-05-29T16:29:09.860" v="2357" actId="478"/>
          <ac:picMkLst>
            <pc:docMk/>
            <pc:sldMk cId="105941073" sldId="1383"/>
            <ac:picMk id="1026" creationId="{015D2669-2966-3C91-0F80-F75DB4E03FE4}"/>
          </ac:picMkLst>
        </pc:picChg>
        <pc:picChg chg="add del mod">
          <ac:chgData name="Piszker Gyorgy" userId="23be8501-6898-4303-ac47-0dd2dc8e306a" providerId="ADAL" clId="{2F5DE452-78C3-4C09-8E7A-2977B1A0B10A}" dt="2023-05-29T16:30:04.184" v="2385" actId="478"/>
          <ac:picMkLst>
            <pc:docMk/>
            <pc:sldMk cId="105941073" sldId="1383"/>
            <ac:picMk id="1027" creationId="{1F136FA3-7ADF-7999-C2C8-9B6B91FEB240}"/>
          </ac:picMkLst>
        </pc:picChg>
      </pc:sldChg>
      <pc:sldChg chg="addSp delSp modSp add mod">
        <pc:chgData name="Piszker Gyorgy" userId="23be8501-6898-4303-ac47-0dd2dc8e306a" providerId="ADAL" clId="{2F5DE452-78C3-4C09-8E7A-2977B1A0B10A}" dt="2023-05-31T06:39:48.227" v="4132" actId="14100"/>
        <pc:sldMkLst>
          <pc:docMk/>
          <pc:sldMk cId="597426295" sldId="1384"/>
        </pc:sldMkLst>
        <pc:spChg chg="mod">
          <ac:chgData name="Piszker Gyorgy" userId="23be8501-6898-4303-ac47-0dd2dc8e306a" providerId="ADAL" clId="{2F5DE452-78C3-4C09-8E7A-2977B1A0B10A}" dt="2023-05-31T06:39:48.227" v="4132" actId="14100"/>
          <ac:spMkLst>
            <pc:docMk/>
            <pc:sldMk cId="597426295" sldId="1384"/>
            <ac:spMk id="3" creationId="{B9F0F320-0EED-0575-57E7-343C32D71CA7}"/>
          </ac:spMkLst>
        </pc:spChg>
        <pc:spChg chg="mod">
          <ac:chgData name="Piszker Gyorgy" userId="23be8501-6898-4303-ac47-0dd2dc8e306a" providerId="ADAL" clId="{2F5DE452-78C3-4C09-8E7A-2977B1A0B10A}" dt="2023-05-31T06:39:41.657" v="4130" actId="14100"/>
          <ac:spMkLst>
            <pc:docMk/>
            <pc:sldMk cId="597426295" sldId="1384"/>
            <ac:spMk id="13" creationId="{C2898F8F-50C0-B7C5-763B-807C82A77D1C}"/>
          </ac:spMkLst>
        </pc:spChg>
        <pc:picChg chg="add mod">
          <ac:chgData name="Piszker Gyorgy" userId="23be8501-6898-4303-ac47-0dd2dc8e306a" providerId="ADAL" clId="{2F5DE452-78C3-4C09-8E7A-2977B1A0B10A}" dt="2023-05-31T06:18:20.554" v="3937"/>
          <ac:picMkLst>
            <pc:docMk/>
            <pc:sldMk cId="597426295" sldId="1384"/>
            <ac:picMk id="4" creationId="{944BB5EC-C165-57C2-9054-0532EBDBB4DA}"/>
          </ac:picMkLst>
        </pc:picChg>
        <pc:picChg chg="add del">
          <ac:chgData name="Piszker Gyorgy" userId="23be8501-6898-4303-ac47-0dd2dc8e306a" providerId="ADAL" clId="{2F5DE452-78C3-4C09-8E7A-2977B1A0B10A}" dt="2023-05-29T16:39:56.007" v="2392" actId="22"/>
          <ac:picMkLst>
            <pc:docMk/>
            <pc:sldMk cId="597426295" sldId="1384"/>
            <ac:picMk id="8" creationId="{8F1DFD0D-57AA-7DE3-0C51-B87A9D94B3E3}"/>
          </ac:picMkLst>
        </pc:picChg>
        <pc:picChg chg="mod">
          <ac:chgData name="Piszker Gyorgy" userId="23be8501-6898-4303-ac47-0dd2dc8e306a" providerId="ADAL" clId="{2F5DE452-78C3-4C09-8E7A-2977B1A0B10A}" dt="2023-05-31T06:38:41.209" v="4078" actId="1035"/>
          <ac:picMkLst>
            <pc:docMk/>
            <pc:sldMk cId="597426295" sldId="1384"/>
            <ac:picMk id="1027" creationId="{1F136FA3-7ADF-7999-C2C8-9B6B91FEB240}"/>
          </ac:picMkLst>
        </pc:picChg>
      </pc:sldChg>
      <pc:sldChg chg="addSp delSp modSp add mod">
        <pc:chgData name="Piszker Gyorgy" userId="23be8501-6898-4303-ac47-0dd2dc8e306a" providerId="ADAL" clId="{2F5DE452-78C3-4C09-8E7A-2977B1A0B10A}" dt="2023-05-31T06:18:25.194" v="3938"/>
        <pc:sldMkLst>
          <pc:docMk/>
          <pc:sldMk cId="3992063333" sldId="1385"/>
        </pc:sldMkLst>
        <pc:spChg chg="mod">
          <ac:chgData name="Piszker Gyorgy" userId="23be8501-6898-4303-ac47-0dd2dc8e306a" providerId="ADAL" clId="{2F5DE452-78C3-4C09-8E7A-2977B1A0B10A}" dt="2023-05-30T04:58:33.699" v="3480" actId="20577"/>
          <ac:spMkLst>
            <pc:docMk/>
            <pc:sldMk cId="3992063333" sldId="1385"/>
            <ac:spMk id="13" creationId="{C2898F8F-50C0-B7C5-763B-807C82A77D1C}"/>
          </ac:spMkLst>
        </pc:spChg>
        <pc:picChg chg="add mod">
          <ac:chgData name="Piszker Gyorgy" userId="23be8501-6898-4303-ac47-0dd2dc8e306a" providerId="ADAL" clId="{2F5DE452-78C3-4C09-8E7A-2977B1A0B10A}" dt="2023-05-31T06:18:25.194" v="3938"/>
          <ac:picMkLst>
            <pc:docMk/>
            <pc:sldMk cId="3992063333" sldId="1385"/>
            <ac:picMk id="4" creationId="{62AA9A40-565E-46F3-1F68-FE0A4C5475AC}"/>
          </ac:picMkLst>
        </pc:picChg>
        <pc:picChg chg="add del">
          <ac:chgData name="Piszker Gyorgy" userId="23be8501-6898-4303-ac47-0dd2dc8e306a" providerId="ADAL" clId="{2F5DE452-78C3-4C09-8E7A-2977B1A0B10A}" dt="2023-05-29T16:40:14.792" v="2396" actId="478"/>
          <ac:picMkLst>
            <pc:docMk/>
            <pc:sldMk cId="3992063333" sldId="1385"/>
            <ac:picMk id="8" creationId="{A39C12E8-8FE3-0C1B-CF3E-EB3F4B49D16E}"/>
          </ac:picMkLst>
        </pc:picChg>
        <pc:picChg chg="add del mod">
          <ac:chgData name="Piszker Gyorgy" userId="23be8501-6898-4303-ac47-0dd2dc8e306a" providerId="ADAL" clId="{2F5DE452-78C3-4C09-8E7A-2977B1A0B10A}" dt="2023-05-29T16:40:40.517" v="2400" actId="478"/>
          <ac:picMkLst>
            <pc:docMk/>
            <pc:sldMk cId="3992063333" sldId="1385"/>
            <ac:picMk id="10" creationId="{0E2E6585-A3F1-A4AF-F494-7705AC45C835}"/>
          </ac:picMkLst>
        </pc:picChg>
        <pc:picChg chg="add del mod">
          <ac:chgData name="Piszker Gyorgy" userId="23be8501-6898-4303-ac47-0dd2dc8e306a" providerId="ADAL" clId="{2F5DE452-78C3-4C09-8E7A-2977B1A0B10A}" dt="2023-05-30T04:51:56.961" v="3424" actId="478"/>
          <ac:picMkLst>
            <pc:docMk/>
            <pc:sldMk cId="3992063333" sldId="1385"/>
            <ac:picMk id="12" creationId="{C2816D14-B09C-C8CA-0663-882EF3168130}"/>
          </ac:picMkLst>
        </pc:picChg>
        <pc:picChg chg="add del mod">
          <ac:chgData name="Piszker Gyorgy" userId="23be8501-6898-4303-ac47-0dd2dc8e306a" providerId="ADAL" clId="{2F5DE452-78C3-4C09-8E7A-2977B1A0B10A}" dt="2023-05-30T04:52:22.105" v="3427" actId="478"/>
          <ac:picMkLst>
            <pc:docMk/>
            <pc:sldMk cId="3992063333" sldId="1385"/>
            <ac:picMk id="15" creationId="{97B7EB4C-7E4B-7DC0-AAAB-B51C750A9246}"/>
          </ac:picMkLst>
        </pc:picChg>
        <pc:picChg chg="add del mod">
          <ac:chgData name="Piszker Gyorgy" userId="23be8501-6898-4303-ac47-0dd2dc8e306a" providerId="ADAL" clId="{2F5DE452-78C3-4C09-8E7A-2977B1A0B10A}" dt="2023-05-30T04:57:22.799" v="3462" actId="478"/>
          <ac:picMkLst>
            <pc:docMk/>
            <pc:sldMk cId="3992063333" sldId="1385"/>
            <ac:picMk id="17" creationId="{51DB22F5-DA99-6780-8D70-4D236FE4307A}"/>
          </ac:picMkLst>
        </pc:picChg>
        <pc:picChg chg="add mod">
          <ac:chgData name="Piszker Gyorgy" userId="23be8501-6898-4303-ac47-0dd2dc8e306a" providerId="ADAL" clId="{2F5DE452-78C3-4C09-8E7A-2977B1A0B10A}" dt="2023-05-30T04:58:21.385" v="3465" actId="1076"/>
          <ac:picMkLst>
            <pc:docMk/>
            <pc:sldMk cId="3992063333" sldId="1385"/>
            <ac:picMk id="19" creationId="{4E97C8E0-FA12-68AC-9A9F-8D7BAC95D896}"/>
          </ac:picMkLst>
        </pc:picChg>
        <pc:picChg chg="del">
          <ac:chgData name="Piszker Gyorgy" userId="23be8501-6898-4303-ac47-0dd2dc8e306a" providerId="ADAL" clId="{2F5DE452-78C3-4C09-8E7A-2977B1A0B10A}" dt="2023-05-29T16:40:12.069" v="2394" actId="478"/>
          <ac:picMkLst>
            <pc:docMk/>
            <pc:sldMk cId="3992063333" sldId="1385"/>
            <ac:picMk id="1027" creationId="{1F136FA3-7ADF-7999-C2C8-9B6B91FEB240}"/>
          </ac:picMkLst>
        </pc:picChg>
      </pc:sldChg>
      <pc:sldChg chg="add del">
        <pc:chgData name="Piszker Gyorgy" userId="23be8501-6898-4303-ac47-0dd2dc8e306a" providerId="ADAL" clId="{2F5DE452-78C3-4C09-8E7A-2977B1A0B10A}" dt="2023-05-29T17:00:51.409" v="2634" actId="47"/>
        <pc:sldMkLst>
          <pc:docMk/>
          <pc:sldMk cId="2014234737" sldId="1386"/>
        </pc:sldMkLst>
      </pc:sldChg>
      <pc:sldChg chg="add del">
        <pc:chgData name="Piszker Gyorgy" userId="23be8501-6898-4303-ac47-0dd2dc8e306a" providerId="ADAL" clId="{2F5DE452-78C3-4C09-8E7A-2977B1A0B10A}" dt="2023-05-29T16:42:45.352" v="2427" actId="2696"/>
        <pc:sldMkLst>
          <pc:docMk/>
          <pc:sldMk cId="713884781" sldId="1387"/>
        </pc:sldMkLst>
      </pc:sldChg>
      <pc:sldChg chg="addSp delSp modSp add mod delAnim modAnim">
        <pc:chgData name="Piszker Gyorgy" userId="23be8501-6898-4303-ac47-0dd2dc8e306a" providerId="ADAL" clId="{2F5DE452-78C3-4C09-8E7A-2977B1A0B10A}" dt="2023-05-31T06:18:28.666" v="3940"/>
        <pc:sldMkLst>
          <pc:docMk/>
          <pc:sldMk cId="2572754046" sldId="1387"/>
        </pc:sldMkLst>
        <pc:spChg chg="mod">
          <ac:chgData name="Piszker Gyorgy" userId="23be8501-6898-4303-ac47-0dd2dc8e306a" providerId="ADAL" clId="{2F5DE452-78C3-4C09-8E7A-2977B1A0B10A}" dt="2023-05-29T16:44:24.717" v="2495" actId="6549"/>
          <ac:spMkLst>
            <pc:docMk/>
            <pc:sldMk cId="2572754046" sldId="1387"/>
            <ac:spMk id="4" creationId="{F3CC4D12-D26A-7D1B-04BB-422D9483B7F0}"/>
          </ac:spMkLst>
        </pc:spChg>
        <pc:spChg chg="add mod">
          <ac:chgData name="Piszker Gyorgy" userId="23be8501-6898-4303-ac47-0dd2dc8e306a" providerId="ADAL" clId="{2F5DE452-78C3-4C09-8E7A-2977B1A0B10A}" dt="2023-05-29T16:53:42.195" v="2532" actId="1076"/>
          <ac:spMkLst>
            <pc:docMk/>
            <pc:sldMk cId="2572754046" sldId="1387"/>
            <ac:spMk id="8" creationId="{EA255DD7-9D2E-A741-9AC4-6CF5AF89BF4F}"/>
          </ac:spMkLst>
        </pc:spChg>
        <pc:spChg chg="add mod">
          <ac:chgData name="Piszker Gyorgy" userId="23be8501-6898-4303-ac47-0dd2dc8e306a" providerId="ADAL" clId="{2F5DE452-78C3-4C09-8E7A-2977B1A0B10A}" dt="2023-05-29T16:53:42.195" v="2532" actId="1076"/>
          <ac:spMkLst>
            <pc:docMk/>
            <pc:sldMk cId="2572754046" sldId="1387"/>
            <ac:spMk id="9" creationId="{3CF67581-E2D4-DE57-B443-01A9FC8577DD}"/>
          </ac:spMkLst>
        </pc:spChg>
        <pc:spChg chg="add del mod">
          <ac:chgData name="Piszker Gyorgy" userId="23be8501-6898-4303-ac47-0dd2dc8e306a" providerId="ADAL" clId="{2F5DE452-78C3-4C09-8E7A-2977B1A0B10A}" dt="2023-05-29T16:47:20.975" v="2507" actId="478"/>
          <ac:spMkLst>
            <pc:docMk/>
            <pc:sldMk cId="2572754046" sldId="1387"/>
            <ac:spMk id="10" creationId="{7CBDE7DA-0A00-C54E-612C-4CB276B7E3CA}"/>
          </ac:spMkLst>
        </pc:spChg>
        <pc:spChg chg="add mod">
          <ac:chgData name="Piszker Gyorgy" userId="23be8501-6898-4303-ac47-0dd2dc8e306a" providerId="ADAL" clId="{2F5DE452-78C3-4C09-8E7A-2977B1A0B10A}" dt="2023-05-29T16:53:42.195" v="2532" actId="1076"/>
          <ac:spMkLst>
            <pc:docMk/>
            <pc:sldMk cId="2572754046" sldId="1387"/>
            <ac:spMk id="11" creationId="{F618BD2C-B01F-0CC8-E46F-A44188583120}"/>
          </ac:spMkLst>
        </pc:spChg>
        <pc:spChg chg="add mod">
          <ac:chgData name="Piszker Gyorgy" userId="23be8501-6898-4303-ac47-0dd2dc8e306a" providerId="ADAL" clId="{2F5DE452-78C3-4C09-8E7A-2977B1A0B10A}" dt="2023-05-29T16:53:42.195" v="2532" actId="1076"/>
          <ac:spMkLst>
            <pc:docMk/>
            <pc:sldMk cId="2572754046" sldId="1387"/>
            <ac:spMk id="12" creationId="{380268B0-D684-1C2F-56A5-8D6DEF81680C}"/>
          </ac:spMkLst>
        </pc:spChg>
        <pc:spChg chg="add mod">
          <ac:chgData name="Piszker Gyorgy" userId="23be8501-6898-4303-ac47-0dd2dc8e306a" providerId="ADAL" clId="{2F5DE452-78C3-4C09-8E7A-2977B1A0B10A}" dt="2023-05-29T16:53:42.195" v="2532" actId="1076"/>
          <ac:spMkLst>
            <pc:docMk/>
            <pc:sldMk cId="2572754046" sldId="1387"/>
            <ac:spMk id="13" creationId="{3B224A24-4282-EC56-9551-A0B6EF98881B}"/>
          </ac:spMkLst>
        </pc:spChg>
        <pc:spChg chg="add mod">
          <ac:chgData name="Piszker Gyorgy" userId="23be8501-6898-4303-ac47-0dd2dc8e306a" providerId="ADAL" clId="{2F5DE452-78C3-4C09-8E7A-2977B1A0B10A}" dt="2023-05-29T16:53:42.195" v="2532" actId="1076"/>
          <ac:spMkLst>
            <pc:docMk/>
            <pc:sldMk cId="2572754046" sldId="1387"/>
            <ac:spMk id="14" creationId="{DFD6FC41-2DCD-0877-4140-246A1828455F}"/>
          </ac:spMkLst>
        </pc:spChg>
        <pc:spChg chg="add mod">
          <ac:chgData name="Piszker Gyorgy" userId="23be8501-6898-4303-ac47-0dd2dc8e306a" providerId="ADAL" clId="{2F5DE452-78C3-4C09-8E7A-2977B1A0B10A}" dt="2023-05-29T16:53:42.195" v="2532" actId="1076"/>
          <ac:spMkLst>
            <pc:docMk/>
            <pc:sldMk cId="2572754046" sldId="1387"/>
            <ac:spMk id="15" creationId="{095EBB00-7309-0445-F7C3-C09CB3563F15}"/>
          </ac:spMkLst>
        </pc:spChg>
        <pc:spChg chg="add mod">
          <ac:chgData name="Piszker Gyorgy" userId="23be8501-6898-4303-ac47-0dd2dc8e306a" providerId="ADAL" clId="{2F5DE452-78C3-4C09-8E7A-2977B1A0B10A}" dt="2023-05-29T16:53:42.195" v="2532" actId="1076"/>
          <ac:spMkLst>
            <pc:docMk/>
            <pc:sldMk cId="2572754046" sldId="1387"/>
            <ac:spMk id="16" creationId="{C09121FD-1FD7-EE31-4535-83B7904C7C3F}"/>
          </ac:spMkLst>
        </pc:spChg>
        <pc:spChg chg="add del mod">
          <ac:chgData name="Piszker Gyorgy" userId="23be8501-6898-4303-ac47-0dd2dc8e306a" providerId="ADAL" clId="{2F5DE452-78C3-4C09-8E7A-2977B1A0B10A}" dt="2023-05-29T16:52:50.349" v="2530" actId="478"/>
          <ac:spMkLst>
            <pc:docMk/>
            <pc:sldMk cId="2572754046" sldId="1387"/>
            <ac:spMk id="17" creationId="{3EEAE42D-6EFD-507C-CBD8-AFCC8C67C169}"/>
          </ac:spMkLst>
        </pc:spChg>
        <pc:spChg chg="add del mod">
          <ac:chgData name="Piszker Gyorgy" userId="23be8501-6898-4303-ac47-0dd2dc8e306a" providerId="ADAL" clId="{2F5DE452-78C3-4C09-8E7A-2977B1A0B10A}" dt="2023-05-29T16:52:51.075" v="2531" actId="478"/>
          <ac:spMkLst>
            <pc:docMk/>
            <pc:sldMk cId="2572754046" sldId="1387"/>
            <ac:spMk id="18" creationId="{02E6E330-A940-F870-97AF-C271E53534FF}"/>
          </ac:spMkLst>
        </pc:spChg>
        <pc:picChg chg="add mod">
          <ac:chgData name="Piszker Gyorgy" userId="23be8501-6898-4303-ac47-0dd2dc8e306a" providerId="ADAL" clId="{2F5DE452-78C3-4C09-8E7A-2977B1A0B10A}" dt="2023-05-31T06:18:28.666" v="3940"/>
          <ac:picMkLst>
            <pc:docMk/>
            <pc:sldMk cId="2572754046" sldId="1387"/>
            <ac:picMk id="10" creationId="{906C78D1-73DE-711E-90C5-734B56B6FBCB}"/>
          </ac:picMkLst>
        </pc:picChg>
      </pc:sldChg>
      <pc:sldChg chg="addSp delSp modSp add mod modAnim">
        <pc:chgData name="Piszker Gyorgy" userId="23be8501-6898-4303-ac47-0dd2dc8e306a" providerId="ADAL" clId="{2F5DE452-78C3-4C09-8E7A-2977B1A0B10A}" dt="2023-05-31T06:18:30.544" v="3941"/>
        <pc:sldMkLst>
          <pc:docMk/>
          <pc:sldMk cId="1352871700" sldId="1388"/>
        </pc:sldMkLst>
        <pc:spChg chg="mod">
          <ac:chgData name="Piszker Gyorgy" userId="23be8501-6898-4303-ac47-0dd2dc8e306a" providerId="ADAL" clId="{2F5DE452-78C3-4C09-8E7A-2977B1A0B10A}" dt="2023-05-29T16:53:49.256" v="2533" actId="6549"/>
          <ac:spMkLst>
            <pc:docMk/>
            <pc:sldMk cId="1352871700" sldId="1388"/>
            <ac:spMk id="4" creationId="{F3CC4D12-D26A-7D1B-04BB-422D9483B7F0}"/>
          </ac:spMkLst>
        </pc:spChg>
        <pc:spChg chg="add del mod">
          <ac:chgData name="Piszker Gyorgy" userId="23be8501-6898-4303-ac47-0dd2dc8e306a" providerId="ADAL" clId="{2F5DE452-78C3-4C09-8E7A-2977B1A0B10A}" dt="2023-05-29T16:54:30.471" v="2535"/>
          <ac:spMkLst>
            <pc:docMk/>
            <pc:sldMk cId="1352871700" sldId="1388"/>
            <ac:spMk id="8" creationId="{235B8C68-F090-8349-59FC-A9C4BC23CBBE}"/>
          </ac:spMkLst>
        </pc:spChg>
        <pc:spChg chg="add del mod">
          <ac:chgData name="Piszker Gyorgy" userId="23be8501-6898-4303-ac47-0dd2dc8e306a" providerId="ADAL" clId="{2F5DE452-78C3-4C09-8E7A-2977B1A0B10A}" dt="2023-05-29T16:54:30.471" v="2535"/>
          <ac:spMkLst>
            <pc:docMk/>
            <pc:sldMk cId="1352871700" sldId="1388"/>
            <ac:spMk id="9" creationId="{B51FE8D9-6A15-DF12-7835-034AD3599CBB}"/>
          </ac:spMkLst>
        </pc:spChg>
        <pc:spChg chg="add del mod">
          <ac:chgData name="Piszker Gyorgy" userId="23be8501-6898-4303-ac47-0dd2dc8e306a" providerId="ADAL" clId="{2F5DE452-78C3-4C09-8E7A-2977B1A0B10A}" dt="2023-05-29T16:54:30.471" v="2535"/>
          <ac:spMkLst>
            <pc:docMk/>
            <pc:sldMk cId="1352871700" sldId="1388"/>
            <ac:spMk id="10" creationId="{F17102B1-B0A8-261C-56EE-129BECD358C4}"/>
          </ac:spMkLst>
        </pc:spChg>
        <pc:spChg chg="add del mod">
          <ac:chgData name="Piszker Gyorgy" userId="23be8501-6898-4303-ac47-0dd2dc8e306a" providerId="ADAL" clId="{2F5DE452-78C3-4C09-8E7A-2977B1A0B10A}" dt="2023-05-29T16:54:30.471" v="2535"/>
          <ac:spMkLst>
            <pc:docMk/>
            <pc:sldMk cId="1352871700" sldId="1388"/>
            <ac:spMk id="11" creationId="{1CD064A9-D95E-765E-3773-664D010BDE92}"/>
          </ac:spMkLst>
        </pc:spChg>
        <pc:spChg chg="add del mod">
          <ac:chgData name="Piszker Gyorgy" userId="23be8501-6898-4303-ac47-0dd2dc8e306a" providerId="ADAL" clId="{2F5DE452-78C3-4C09-8E7A-2977B1A0B10A}" dt="2023-05-29T16:54:30.471" v="2535"/>
          <ac:spMkLst>
            <pc:docMk/>
            <pc:sldMk cId="1352871700" sldId="1388"/>
            <ac:spMk id="12" creationId="{F04B6DA2-D361-2455-4AA6-5E715EC80719}"/>
          </ac:spMkLst>
        </pc:spChg>
        <pc:spChg chg="add mod">
          <ac:chgData name="Piszker Gyorgy" userId="23be8501-6898-4303-ac47-0dd2dc8e306a" providerId="ADAL" clId="{2F5DE452-78C3-4C09-8E7A-2977B1A0B10A}" dt="2023-05-29T17:00:21.020" v="2633" actId="1076"/>
          <ac:spMkLst>
            <pc:docMk/>
            <pc:sldMk cId="1352871700" sldId="1388"/>
            <ac:spMk id="13" creationId="{22EECE66-0020-054B-1AAF-DA653C05FBB3}"/>
          </ac:spMkLst>
        </pc:spChg>
        <pc:spChg chg="add mod">
          <ac:chgData name="Piszker Gyorgy" userId="23be8501-6898-4303-ac47-0dd2dc8e306a" providerId="ADAL" clId="{2F5DE452-78C3-4C09-8E7A-2977B1A0B10A}" dt="2023-05-29T17:00:21.020" v="2633" actId="1076"/>
          <ac:spMkLst>
            <pc:docMk/>
            <pc:sldMk cId="1352871700" sldId="1388"/>
            <ac:spMk id="14" creationId="{ABB47AD9-6CD6-8165-39FF-7FC59F98ACB3}"/>
          </ac:spMkLst>
        </pc:spChg>
        <pc:spChg chg="add mod">
          <ac:chgData name="Piszker Gyorgy" userId="23be8501-6898-4303-ac47-0dd2dc8e306a" providerId="ADAL" clId="{2F5DE452-78C3-4C09-8E7A-2977B1A0B10A}" dt="2023-05-29T17:00:21.020" v="2633" actId="1076"/>
          <ac:spMkLst>
            <pc:docMk/>
            <pc:sldMk cId="1352871700" sldId="1388"/>
            <ac:spMk id="15" creationId="{7F3AA6EA-BDB4-3369-CB42-E02D4B3D4BC3}"/>
          </ac:spMkLst>
        </pc:spChg>
        <pc:spChg chg="add mod">
          <ac:chgData name="Piszker Gyorgy" userId="23be8501-6898-4303-ac47-0dd2dc8e306a" providerId="ADAL" clId="{2F5DE452-78C3-4C09-8E7A-2977B1A0B10A}" dt="2023-05-29T17:00:21.020" v="2633" actId="1076"/>
          <ac:spMkLst>
            <pc:docMk/>
            <pc:sldMk cId="1352871700" sldId="1388"/>
            <ac:spMk id="16" creationId="{0B7074E0-8851-D2A5-6519-C5EBF6A0C5EA}"/>
          </ac:spMkLst>
        </pc:spChg>
        <pc:spChg chg="add mod">
          <ac:chgData name="Piszker Gyorgy" userId="23be8501-6898-4303-ac47-0dd2dc8e306a" providerId="ADAL" clId="{2F5DE452-78C3-4C09-8E7A-2977B1A0B10A}" dt="2023-05-29T17:00:21.020" v="2633" actId="1076"/>
          <ac:spMkLst>
            <pc:docMk/>
            <pc:sldMk cId="1352871700" sldId="1388"/>
            <ac:spMk id="17" creationId="{B7191248-0543-3572-2633-4F69A9AD00AE}"/>
          </ac:spMkLst>
        </pc:spChg>
        <pc:spChg chg="add mod">
          <ac:chgData name="Piszker Gyorgy" userId="23be8501-6898-4303-ac47-0dd2dc8e306a" providerId="ADAL" clId="{2F5DE452-78C3-4C09-8E7A-2977B1A0B10A}" dt="2023-05-29T17:00:21.020" v="2633" actId="1076"/>
          <ac:spMkLst>
            <pc:docMk/>
            <pc:sldMk cId="1352871700" sldId="1388"/>
            <ac:spMk id="18" creationId="{55246168-01A3-74BA-8741-3D0DB2047D17}"/>
          </ac:spMkLst>
        </pc:spChg>
        <pc:spChg chg="add mod">
          <ac:chgData name="Piszker Gyorgy" userId="23be8501-6898-4303-ac47-0dd2dc8e306a" providerId="ADAL" clId="{2F5DE452-78C3-4C09-8E7A-2977B1A0B10A}" dt="2023-05-29T17:00:21.020" v="2633" actId="1076"/>
          <ac:spMkLst>
            <pc:docMk/>
            <pc:sldMk cId="1352871700" sldId="1388"/>
            <ac:spMk id="19" creationId="{E008BB93-9D60-41ED-4407-AD1CB4213049}"/>
          </ac:spMkLst>
        </pc:spChg>
        <pc:spChg chg="add del mod">
          <ac:chgData name="Piszker Gyorgy" userId="23be8501-6898-4303-ac47-0dd2dc8e306a" providerId="ADAL" clId="{2F5DE452-78C3-4C09-8E7A-2977B1A0B10A}" dt="2023-05-29T16:55:42.637" v="2597"/>
          <ac:spMkLst>
            <pc:docMk/>
            <pc:sldMk cId="1352871700" sldId="1388"/>
            <ac:spMk id="20" creationId="{9E2E9286-8354-E872-1AD9-C5FD801DDDF8}"/>
          </ac:spMkLst>
        </pc:spChg>
        <pc:spChg chg="add del mod">
          <ac:chgData name="Piszker Gyorgy" userId="23be8501-6898-4303-ac47-0dd2dc8e306a" providerId="ADAL" clId="{2F5DE452-78C3-4C09-8E7A-2977B1A0B10A}" dt="2023-05-29T16:55:42.637" v="2597"/>
          <ac:spMkLst>
            <pc:docMk/>
            <pc:sldMk cId="1352871700" sldId="1388"/>
            <ac:spMk id="21" creationId="{57F28E64-A046-5432-B6BB-DE843435472A}"/>
          </ac:spMkLst>
        </pc:spChg>
        <pc:spChg chg="add del mod">
          <ac:chgData name="Piszker Gyorgy" userId="23be8501-6898-4303-ac47-0dd2dc8e306a" providerId="ADAL" clId="{2F5DE452-78C3-4C09-8E7A-2977B1A0B10A}" dt="2023-05-29T16:55:42.637" v="2597"/>
          <ac:spMkLst>
            <pc:docMk/>
            <pc:sldMk cId="1352871700" sldId="1388"/>
            <ac:spMk id="22" creationId="{16503D17-EBD8-D901-1275-5557A4A5043B}"/>
          </ac:spMkLst>
        </pc:spChg>
        <pc:spChg chg="add del mod">
          <ac:chgData name="Piszker Gyorgy" userId="23be8501-6898-4303-ac47-0dd2dc8e306a" providerId="ADAL" clId="{2F5DE452-78C3-4C09-8E7A-2977B1A0B10A}" dt="2023-05-29T16:55:42.637" v="2597"/>
          <ac:spMkLst>
            <pc:docMk/>
            <pc:sldMk cId="1352871700" sldId="1388"/>
            <ac:spMk id="23" creationId="{1C8DE35F-3DAB-188E-F19D-224B826869C9}"/>
          </ac:spMkLst>
        </pc:spChg>
        <pc:spChg chg="add del mod">
          <ac:chgData name="Piszker Gyorgy" userId="23be8501-6898-4303-ac47-0dd2dc8e306a" providerId="ADAL" clId="{2F5DE452-78C3-4C09-8E7A-2977B1A0B10A}" dt="2023-05-29T16:55:42.637" v="2597"/>
          <ac:spMkLst>
            <pc:docMk/>
            <pc:sldMk cId="1352871700" sldId="1388"/>
            <ac:spMk id="24" creationId="{36C30EDF-56D2-0EF2-17C0-9453C0A8A936}"/>
          </ac:spMkLst>
        </pc:spChg>
        <pc:spChg chg="add del mod">
          <ac:chgData name="Piszker Gyorgy" userId="23be8501-6898-4303-ac47-0dd2dc8e306a" providerId="ADAL" clId="{2F5DE452-78C3-4C09-8E7A-2977B1A0B10A}" dt="2023-05-29T16:55:42.637" v="2597"/>
          <ac:spMkLst>
            <pc:docMk/>
            <pc:sldMk cId="1352871700" sldId="1388"/>
            <ac:spMk id="25" creationId="{ECBB7934-E02A-B9FD-654C-BEEC2154C0B8}"/>
          </ac:spMkLst>
        </pc:spChg>
        <pc:spChg chg="add del mod">
          <ac:chgData name="Piszker Gyorgy" userId="23be8501-6898-4303-ac47-0dd2dc8e306a" providerId="ADAL" clId="{2F5DE452-78C3-4C09-8E7A-2977B1A0B10A}" dt="2023-05-29T16:55:42.637" v="2597"/>
          <ac:spMkLst>
            <pc:docMk/>
            <pc:sldMk cId="1352871700" sldId="1388"/>
            <ac:spMk id="26" creationId="{5391EB07-11AC-696B-0A1A-E0C7E8249EB6}"/>
          </ac:spMkLst>
        </pc:spChg>
        <pc:spChg chg="add mod">
          <ac:chgData name="Piszker Gyorgy" userId="23be8501-6898-4303-ac47-0dd2dc8e306a" providerId="ADAL" clId="{2F5DE452-78C3-4C09-8E7A-2977B1A0B10A}" dt="2023-05-29T17:00:21.020" v="2633" actId="1076"/>
          <ac:spMkLst>
            <pc:docMk/>
            <pc:sldMk cId="1352871700" sldId="1388"/>
            <ac:spMk id="27" creationId="{D0EDDE11-A660-5888-3D6A-D61D4FE22350}"/>
          </ac:spMkLst>
        </pc:spChg>
        <pc:spChg chg="add mod">
          <ac:chgData name="Piszker Gyorgy" userId="23be8501-6898-4303-ac47-0dd2dc8e306a" providerId="ADAL" clId="{2F5DE452-78C3-4C09-8E7A-2977B1A0B10A}" dt="2023-05-29T17:00:21.020" v="2633" actId="1076"/>
          <ac:spMkLst>
            <pc:docMk/>
            <pc:sldMk cId="1352871700" sldId="1388"/>
            <ac:spMk id="28" creationId="{7FE13FEE-581D-3359-3F8E-864C56CB953F}"/>
          </ac:spMkLst>
        </pc:spChg>
        <pc:spChg chg="add mod">
          <ac:chgData name="Piszker Gyorgy" userId="23be8501-6898-4303-ac47-0dd2dc8e306a" providerId="ADAL" clId="{2F5DE452-78C3-4C09-8E7A-2977B1A0B10A}" dt="2023-05-29T17:00:21.020" v="2633" actId="1076"/>
          <ac:spMkLst>
            <pc:docMk/>
            <pc:sldMk cId="1352871700" sldId="1388"/>
            <ac:spMk id="29" creationId="{1C0428AC-E3B5-E7E8-B26B-8F4527961A1D}"/>
          </ac:spMkLst>
        </pc:spChg>
        <pc:spChg chg="add mod">
          <ac:chgData name="Piszker Gyorgy" userId="23be8501-6898-4303-ac47-0dd2dc8e306a" providerId="ADAL" clId="{2F5DE452-78C3-4C09-8E7A-2977B1A0B10A}" dt="2023-05-29T17:00:21.020" v="2633" actId="1076"/>
          <ac:spMkLst>
            <pc:docMk/>
            <pc:sldMk cId="1352871700" sldId="1388"/>
            <ac:spMk id="30" creationId="{57BA88DE-AF69-B075-700D-6D3430676E9E}"/>
          </ac:spMkLst>
        </pc:spChg>
        <pc:picChg chg="add mod">
          <ac:chgData name="Piszker Gyorgy" userId="23be8501-6898-4303-ac47-0dd2dc8e306a" providerId="ADAL" clId="{2F5DE452-78C3-4C09-8E7A-2977B1A0B10A}" dt="2023-05-31T06:18:30.544" v="3941"/>
          <ac:picMkLst>
            <pc:docMk/>
            <pc:sldMk cId="1352871700" sldId="1388"/>
            <ac:picMk id="8" creationId="{BDE56309-19B0-C129-54D9-F75D1880E23E}"/>
          </ac:picMkLst>
        </pc:picChg>
      </pc:sldChg>
      <pc:sldChg chg="addSp delSp modSp add mod modAnim">
        <pc:chgData name="Piszker Gyorgy" userId="23be8501-6898-4303-ac47-0dd2dc8e306a" providerId="ADAL" clId="{2F5DE452-78C3-4C09-8E7A-2977B1A0B10A}" dt="2023-05-31T06:34:22.504" v="4011" actId="20577"/>
        <pc:sldMkLst>
          <pc:docMk/>
          <pc:sldMk cId="215200138" sldId="1389"/>
        </pc:sldMkLst>
        <pc:spChg chg="del mod">
          <ac:chgData name="Piszker Gyorgy" userId="23be8501-6898-4303-ac47-0dd2dc8e306a" providerId="ADAL" clId="{2F5DE452-78C3-4C09-8E7A-2977B1A0B10A}" dt="2023-05-30T04:30:36.804" v="3112" actId="478"/>
          <ac:spMkLst>
            <pc:docMk/>
            <pc:sldMk cId="215200138" sldId="1389"/>
            <ac:spMk id="4" creationId="{F3CC4D12-D26A-7D1B-04BB-422D9483B7F0}"/>
          </ac:spMkLst>
        </pc:spChg>
        <pc:spChg chg="add mod">
          <ac:chgData name="Piszker Gyorgy" userId="23be8501-6898-4303-ac47-0dd2dc8e306a" providerId="ADAL" clId="{2F5DE452-78C3-4C09-8E7A-2977B1A0B10A}" dt="2023-05-31T06:34:01.995" v="4000" actId="207"/>
          <ac:spMkLst>
            <pc:docMk/>
            <pc:sldMk cId="215200138" sldId="1389"/>
            <ac:spMk id="8" creationId="{58AA3EBF-2706-2904-81BB-F0E3BBAD2170}"/>
          </ac:spMkLst>
        </pc:spChg>
        <pc:spChg chg="add mod">
          <ac:chgData name="Piszker Gyorgy" userId="23be8501-6898-4303-ac47-0dd2dc8e306a" providerId="ADAL" clId="{2F5DE452-78C3-4C09-8E7A-2977B1A0B10A}" dt="2023-05-31T06:34:22.504" v="4011" actId="20577"/>
          <ac:spMkLst>
            <pc:docMk/>
            <pc:sldMk cId="215200138" sldId="1389"/>
            <ac:spMk id="9" creationId="{820EC5EF-CE27-B8BE-C6CC-0224EDF0E8EB}"/>
          </ac:spMkLst>
        </pc:spChg>
        <pc:spChg chg="add mod">
          <ac:chgData name="Piszker Gyorgy" userId="23be8501-6898-4303-ac47-0dd2dc8e306a" providerId="ADAL" clId="{2F5DE452-78C3-4C09-8E7A-2977B1A0B10A}" dt="2023-05-31T06:34:01.995" v="4000" actId="207"/>
          <ac:spMkLst>
            <pc:docMk/>
            <pc:sldMk cId="215200138" sldId="1389"/>
            <ac:spMk id="10" creationId="{9BCBBE97-76DE-121F-BC3B-314B9077822D}"/>
          </ac:spMkLst>
        </pc:spChg>
        <pc:spChg chg="add mod">
          <ac:chgData name="Piszker Gyorgy" userId="23be8501-6898-4303-ac47-0dd2dc8e306a" providerId="ADAL" clId="{2F5DE452-78C3-4C09-8E7A-2977B1A0B10A}" dt="2023-05-31T06:34:01.995" v="4000" actId="207"/>
          <ac:spMkLst>
            <pc:docMk/>
            <pc:sldMk cId="215200138" sldId="1389"/>
            <ac:spMk id="11" creationId="{324690FA-294E-1ABC-F331-7C48F88F9387}"/>
          </ac:spMkLst>
        </pc:spChg>
        <pc:spChg chg="add mod">
          <ac:chgData name="Piszker Gyorgy" userId="23be8501-6898-4303-ac47-0dd2dc8e306a" providerId="ADAL" clId="{2F5DE452-78C3-4C09-8E7A-2977B1A0B10A}" dt="2023-05-31T06:34:01.995" v="4000" actId="207"/>
          <ac:spMkLst>
            <pc:docMk/>
            <pc:sldMk cId="215200138" sldId="1389"/>
            <ac:spMk id="12" creationId="{00D0F16C-6FA4-BDB4-B3F0-336121F4E389}"/>
          </ac:spMkLst>
        </pc:spChg>
        <pc:spChg chg="add del mod">
          <ac:chgData name="Piszker Gyorgy" userId="23be8501-6898-4303-ac47-0dd2dc8e306a" providerId="ADAL" clId="{2F5DE452-78C3-4C09-8E7A-2977B1A0B10A}" dt="2023-05-30T04:32:14.278" v="3127" actId="478"/>
          <ac:spMkLst>
            <pc:docMk/>
            <pc:sldMk cId="215200138" sldId="1389"/>
            <ac:spMk id="13" creationId="{985213A9-708C-158A-96CD-95C14B82F419}"/>
          </ac:spMkLst>
        </pc:spChg>
        <pc:spChg chg="add mod">
          <ac:chgData name="Piszker Gyorgy" userId="23be8501-6898-4303-ac47-0dd2dc8e306a" providerId="ADAL" clId="{2F5DE452-78C3-4C09-8E7A-2977B1A0B10A}" dt="2023-05-31T06:34:01.995" v="4000" actId="207"/>
          <ac:spMkLst>
            <pc:docMk/>
            <pc:sldMk cId="215200138" sldId="1389"/>
            <ac:spMk id="14" creationId="{29F99560-73AD-8F1F-8683-CFDB77D50F8B}"/>
          </ac:spMkLst>
        </pc:spChg>
        <pc:spChg chg="add del mod">
          <ac:chgData name="Piszker Gyorgy" userId="23be8501-6898-4303-ac47-0dd2dc8e306a" providerId="ADAL" clId="{2F5DE452-78C3-4C09-8E7A-2977B1A0B10A}" dt="2023-05-30T04:30:59.899" v="3113" actId="478"/>
          <ac:spMkLst>
            <pc:docMk/>
            <pc:sldMk cId="215200138" sldId="1389"/>
            <ac:spMk id="16" creationId="{3A8CDE26-3A23-EF70-AFE2-8EC2DD47228E}"/>
          </ac:spMkLst>
        </pc:spChg>
        <pc:spChg chg="add mod">
          <ac:chgData name="Piszker Gyorgy" userId="23be8501-6898-4303-ac47-0dd2dc8e306a" providerId="ADAL" clId="{2F5DE452-78C3-4C09-8E7A-2977B1A0B10A}" dt="2023-05-30T04:39:02.875" v="3313" actId="1076"/>
          <ac:spMkLst>
            <pc:docMk/>
            <pc:sldMk cId="215200138" sldId="1389"/>
            <ac:spMk id="17" creationId="{CF88B916-B40F-2EDA-B264-E07B7156464A}"/>
          </ac:spMkLst>
        </pc:spChg>
        <pc:picChg chg="add mod">
          <ac:chgData name="Piszker Gyorgy" userId="23be8501-6898-4303-ac47-0dd2dc8e306a" providerId="ADAL" clId="{2F5DE452-78C3-4C09-8E7A-2977B1A0B10A}" dt="2023-05-31T06:18:00.833" v="3929"/>
          <ac:picMkLst>
            <pc:docMk/>
            <pc:sldMk cId="215200138" sldId="1389"/>
            <ac:picMk id="4" creationId="{8DAF7737-722D-5AFB-8FDF-F0635007418D}"/>
          </ac:picMkLst>
        </pc:picChg>
      </pc:sldChg>
      <pc:sldChg chg="delSp modSp add del mod">
        <pc:chgData name="Piszker Gyorgy" userId="23be8501-6898-4303-ac47-0dd2dc8e306a" providerId="ADAL" clId="{2F5DE452-78C3-4C09-8E7A-2977B1A0B10A}" dt="2023-05-30T04:39:49.926" v="3315" actId="47"/>
        <pc:sldMkLst>
          <pc:docMk/>
          <pc:sldMk cId="1572846840" sldId="1390"/>
        </pc:sldMkLst>
        <pc:spChg chg="del">
          <ac:chgData name="Piszker Gyorgy" userId="23be8501-6898-4303-ac47-0dd2dc8e306a" providerId="ADAL" clId="{2F5DE452-78C3-4C09-8E7A-2977B1A0B10A}" dt="2023-05-30T04:29:34.696" v="3101" actId="478"/>
          <ac:spMkLst>
            <pc:docMk/>
            <pc:sldMk cId="1572846840" sldId="1390"/>
            <ac:spMk id="8" creationId="{58AA3EBF-2706-2904-81BB-F0E3BBAD2170}"/>
          </ac:spMkLst>
        </pc:spChg>
        <pc:spChg chg="del">
          <ac:chgData name="Piszker Gyorgy" userId="23be8501-6898-4303-ac47-0dd2dc8e306a" providerId="ADAL" clId="{2F5DE452-78C3-4C09-8E7A-2977B1A0B10A}" dt="2023-05-30T04:29:34.696" v="3101" actId="478"/>
          <ac:spMkLst>
            <pc:docMk/>
            <pc:sldMk cId="1572846840" sldId="1390"/>
            <ac:spMk id="9" creationId="{820EC5EF-CE27-B8BE-C6CC-0224EDF0E8EB}"/>
          </ac:spMkLst>
        </pc:spChg>
        <pc:spChg chg="del">
          <ac:chgData name="Piszker Gyorgy" userId="23be8501-6898-4303-ac47-0dd2dc8e306a" providerId="ADAL" clId="{2F5DE452-78C3-4C09-8E7A-2977B1A0B10A}" dt="2023-05-30T04:29:34.696" v="3101" actId="478"/>
          <ac:spMkLst>
            <pc:docMk/>
            <pc:sldMk cId="1572846840" sldId="1390"/>
            <ac:spMk id="10" creationId="{9BCBBE97-76DE-121F-BC3B-314B9077822D}"/>
          </ac:spMkLst>
        </pc:spChg>
        <pc:spChg chg="del">
          <ac:chgData name="Piszker Gyorgy" userId="23be8501-6898-4303-ac47-0dd2dc8e306a" providerId="ADAL" clId="{2F5DE452-78C3-4C09-8E7A-2977B1A0B10A}" dt="2023-05-30T04:29:34.696" v="3101" actId="478"/>
          <ac:spMkLst>
            <pc:docMk/>
            <pc:sldMk cId="1572846840" sldId="1390"/>
            <ac:spMk id="11" creationId="{324690FA-294E-1ABC-F331-7C48F88F9387}"/>
          </ac:spMkLst>
        </pc:spChg>
        <pc:spChg chg="del mod">
          <ac:chgData name="Piszker Gyorgy" userId="23be8501-6898-4303-ac47-0dd2dc8e306a" providerId="ADAL" clId="{2F5DE452-78C3-4C09-8E7A-2977B1A0B10A}" dt="2023-05-30T04:29:36.302" v="3103" actId="478"/>
          <ac:spMkLst>
            <pc:docMk/>
            <pc:sldMk cId="1572846840" sldId="1390"/>
            <ac:spMk id="12" creationId="{00D0F16C-6FA4-BDB4-B3F0-336121F4E389}"/>
          </ac:spMkLst>
        </pc:spChg>
        <pc:spChg chg="del">
          <ac:chgData name="Piszker Gyorgy" userId="23be8501-6898-4303-ac47-0dd2dc8e306a" providerId="ADAL" clId="{2F5DE452-78C3-4C09-8E7A-2977B1A0B10A}" dt="2023-05-30T04:29:34.696" v="3101" actId="478"/>
          <ac:spMkLst>
            <pc:docMk/>
            <pc:sldMk cId="1572846840" sldId="1390"/>
            <ac:spMk id="13" creationId="{985213A9-708C-158A-96CD-95C14B82F419}"/>
          </ac:spMkLst>
        </pc:spChg>
        <pc:spChg chg="del">
          <ac:chgData name="Piszker Gyorgy" userId="23be8501-6898-4303-ac47-0dd2dc8e306a" providerId="ADAL" clId="{2F5DE452-78C3-4C09-8E7A-2977B1A0B10A}" dt="2023-05-30T04:29:34.696" v="3101" actId="478"/>
          <ac:spMkLst>
            <pc:docMk/>
            <pc:sldMk cId="1572846840" sldId="1390"/>
            <ac:spMk id="14" creationId="{29F99560-73AD-8F1F-8683-CFDB77D50F8B}"/>
          </ac:spMkLst>
        </pc:spChg>
      </pc:sldChg>
      <pc:sldChg chg="addSp modSp add">
        <pc:chgData name="Piszker Gyorgy" userId="23be8501-6898-4303-ac47-0dd2dc8e306a" providerId="ADAL" clId="{2F5DE452-78C3-4C09-8E7A-2977B1A0B10A}" dt="2023-05-31T06:18:27.113" v="3939"/>
        <pc:sldMkLst>
          <pc:docMk/>
          <pc:sldMk cId="4162733524" sldId="1390"/>
        </pc:sldMkLst>
        <pc:picChg chg="add mod">
          <ac:chgData name="Piszker Gyorgy" userId="23be8501-6898-4303-ac47-0dd2dc8e306a" providerId="ADAL" clId="{2F5DE452-78C3-4C09-8E7A-2977B1A0B10A}" dt="2023-05-31T06:18:27.113" v="3939"/>
          <ac:picMkLst>
            <pc:docMk/>
            <pc:sldMk cId="4162733524" sldId="1390"/>
            <ac:picMk id="4" creationId="{4FD32F14-43BB-EE8C-ECA1-85F646D27C30}"/>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C4FE3AB-0EAA-FD8E-87C9-E340745120E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en-US" dirty="0"/>
              <a:t>Header</a:t>
            </a:r>
          </a:p>
        </p:txBody>
      </p:sp>
      <p:sp>
        <p:nvSpPr>
          <p:cNvPr id="3" name="Date Placeholder 2">
            <a:extLst>
              <a:ext uri="{FF2B5EF4-FFF2-40B4-BE49-F238E27FC236}">
                <a16:creationId xmlns:a16="http://schemas.microsoft.com/office/drawing/2014/main" id="{BDB01FFF-36B0-31C2-160C-718DA9BA3E4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2D8B1B8-ADA6-481C-9459-5159703880B3}" type="datetimeFigureOut">
              <a:rPr lang="en-US" smtClean="0"/>
              <a:t>6/1/2023</a:t>
            </a:fld>
            <a:endParaRPr lang="en-US"/>
          </a:p>
        </p:txBody>
      </p:sp>
      <p:sp>
        <p:nvSpPr>
          <p:cNvPr id="4" name="Footer Placeholder 3">
            <a:extLst>
              <a:ext uri="{FF2B5EF4-FFF2-40B4-BE49-F238E27FC236}">
                <a16:creationId xmlns:a16="http://schemas.microsoft.com/office/drawing/2014/main" id="{79ACC43A-206D-75D0-6771-21328082BCE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dirty="0"/>
              <a:t>Footer</a:t>
            </a:r>
          </a:p>
        </p:txBody>
      </p:sp>
      <p:sp>
        <p:nvSpPr>
          <p:cNvPr id="5" name="Slide Number Placeholder 4">
            <a:extLst>
              <a:ext uri="{FF2B5EF4-FFF2-40B4-BE49-F238E27FC236}">
                <a16:creationId xmlns:a16="http://schemas.microsoft.com/office/drawing/2014/main" id="{E8A5222A-6C65-3A59-52EB-82BB1EF9A0B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D984EAC-1D8D-4087-BE5C-2DC017B21C13}" type="slidenum">
              <a:rPr lang="en-US" smtClean="0"/>
              <a:t>‹#›</a:t>
            </a:fld>
            <a:endParaRPr lang="en-US"/>
          </a:p>
        </p:txBody>
      </p:sp>
    </p:spTree>
    <p:extLst>
      <p:ext uri="{BB962C8B-B14F-4D97-AF65-F5344CB8AC3E}">
        <p14:creationId xmlns:p14="http://schemas.microsoft.com/office/powerpoint/2010/main" val="11567330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en-US" dirty="0"/>
              <a:t>Header</a:t>
            </a:r>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CA0035E-B4E9-4809-A9BE-0A0D42F08D40}" type="datetimeFigureOut">
              <a:rPr lang="en-US" smtClean="0"/>
              <a:t>6/1/2023</a:t>
            </a:fld>
            <a:endParaRPr lang="en-US"/>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de-DE" dirty="0"/>
              <a:t>First </a:t>
            </a:r>
            <a:r>
              <a:rPr lang="de-DE" dirty="0" err="1"/>
              <a:t>level</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en-US" dirty="0"/>
              <a:t>Footer</a:t>
            </a:r>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3689E5B-112A-46A3-B6D0-70548DC6D353}" type="slidenum">
              <a:rPr lang="en-US" smtClean="0"/>
              <a:t>‹#›</a:t>
            </a:fld>
            <a:endParaRPr lang="en-US"/>
          </a:p>
        </p:txBody>
      </p:sp>
    </p:spTree>
    <p:extLst>
      <p:ext uri="{BB962C8B-B14F-4D97-AF65-F5344CB8AC3E}">
        <p14:creationId xmlns:p14="http://schemas.microsoft.com/office/powerpoint/2010/main" val="1818541274"/>
      </p:ext>
    </p:extLst>
  </p:cSld>
  <p:clrMap bg1="lt1" tx1="dk1" bg2="lt2" tx2="dk2" accent1="accent1" accent2="accent2" accent3="accent3" accent4="accent4" accent5="accent5" accent6="accent6" hlink="hlink" folHlink="folHlink"/>
  <p:notesStyle>
    <a:lvl1pPr marL="216000" indent="-216000" algn="l" defTabSz="914400" rtl="0" eaLnBrk="1" latinLnBrk="0" hangingPunct="1">
      <a:spcAft>
        <a:spcPts val="300"/>
      </a:spcAft>
      <a:buClr>
        <a:schemeClr val="accent1"/>
      </a:buClr>
      <a:buFont typeface="Calibri Light" panose="020F0302020204030204" pitchFamily="34" charset="0"/>
      <a:buChar char="›"/>
      <a:defRPr sz="1200" kern="1200">
        <a:solidFill>
          <a:schemeClr val="tx1"/>
        </a:solidFill>
        <a:latin typeface="+mn-lt"/>
        <a:ea typeface="+mn-ea"/>
        <a:cs typeface="+mn-cs"/>
      </a:defRPr>
    </a:lvl1pPr>
    <a:lvl2pPr marL="432000" indent="-216000" algn="l" defTabSz="914400" rtl="0" eaLnBrk="1" latinLnBrk="0" hangingPunct="1">
      <a:spcAft>
        <a:spcPts val="300"/>
      </a:spcAft>
      <a:buClr>
        <a:schemeClr val="accent1"/>
      </a:buClr>
      <a:buFont typeface="Calibri Light" panose="020F0302020204030204" pitchFamily="34" charset="0"/>
      <a:buChar char="›"/>
      <a:defRPr sz="1200" kern="1200">
        <a:solidFill>
          <a:schemeClr val="tx1"/>
        </a:solidFill>
        <a:latin typeface="+mn-lt"/>
        <a:ea typeface="+mn-ea"/>
        <a:cs typeface="+mn-cs"/>
      </a:defRPr>
    </a:lvl2pPr>
    <a:lvl3pPr marL="648000" indent="-216000" algn="l" defTabSz="914400" rtl="0" eaLnBrk="1" latinLnBrk="0" hangingPunct="1">
      <a:spcAft>
        <a:spcPts val="300"/>
      </a:spcAft>
      <a:buClr>
        <a:schemeClr val="accent1"/>
      </a:buClr>
      <a:buFont typeface="Calibri Light" panose="020F0302020204030204" pitchFamily="34" charset="0"/>
      <a:buChar char="›"/>
      <a:defRPr sz="1200" kern="1200">
        <a:solidFill>
          <a:schemeClr val="tx1"/>
        </a:solidFill>
        <a:latin typeface="+mn-lt"/>
        <a:ea typeface="+mn-ea"/>
        <a:cs typeface="+mn-cs"/>
      </a:defRPr>
    </a:lvl3pPr>
    <a:lvl4pPr marL="864000" indent="-216000" algn="l" defTabSz="914400" rtl="0" eaLnBrk="1" latinLnBrk="0" hangingPunct="1">
      <a:spcAft>
        <a:spcPts val="300"/>
      </a:spcAft>
      <a:buClr>
        <a:schemeClr val="accent1"/>
      </a:buClr>
      <a:buFont typeface="Calibri Light" panose="020F0302020204030204" pitchFamily="34" charset="0"/>
      <a:buChar char="›"/>
      <a:defRPr sz="1200" kern="1200">
        <a:solidFill>
          <a:schemeClr val="tx1"/>
        </a:solidFill>
        <a:latin typeface="+mn-lt"/>
        <a:ea typeface="+mn-ea"/>
        <a:cs typeface="+mn-cs"/>
      </a:defRPr>
    </a:lvl4pPr>
    <a:lvl5pPr marL="1080000" indent="-216000" algn="l" defTabSz="914400" rtl="0" eaLnBrk="1" latinLnBrk="0" hangingPunct="1">
      <a:spcAft>
        <a:spcPts val="300"/>
      </a:spcAft>
      <a:buClr>
        <a:schemeClr val="accent1"/>
      </a:buClr>
      <a:buFont typeface="Calibri Light" panose="020F030202020403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dirty="0"/>
              <a:t>Confidentiality: </a:t>
            </a:r>
          </a:p>
          <a:p>
            <a:pPr marL="171450" indent="-171450">
              <a:buFontTx/>
              <a:buChar char="-"/>
            </a:pPr>
            <a:r>
              <a:rPr lang="hu-HU" dirty="0" err="1"/>
              <a:t>Least</a:t>
            </a:r>
            <a:r>
              <a:rPr lang="hu-HU" dirty="0"/>
              <a:t> </a:t>
            </a:r>
            <a:r>
              <a:rPr lang="hu-HU" dirty="0" err="1"/>
              <a:t>privilige</a:t>
            </a:r>
            <a:r>
              <a:rPr lang="hu-HU" dirty="0"/>
              <a:t>, </a:t>
            </a:r>
            <a:r>
              <a:rPr lang="hu-HU" dirty="0" err="1"/>
              <a:t>need</a:t>
            </a:r>
            <a:r>
              <a:rPr lang="hu-HU" dirty="0"/>
              <a:t>-to-</a:t>
            </a:r>
            <a:r>
              <a:rPr lang="hu-HU" dirty="0" err="1"/>
              <a:t>know</a:t>
            </a:r>
            <a:endParaRPr lang="hu-HU" dirty="0"/>
          </a:p>
          <a:p>
            <a:pPr marL="0" indent="0">
              <a:buFontTx/>
              <a:buNone/>
            </a:pPr>
            <a:r>
              <a:rPr lang="hu-HU" dirty="0"/>
              <a:t>Integrity</a:t>
            </a:r>
          </a:p>
          <a:p>
            <a:pPr marL="171450" indent="-171450">
              <a:buFontTx/>
              <a:buChar char="-"/>
            </a:pPr>
            <a:r>
              <a:rPr lang="hu-HU" dirty="0" err="1"/>
              <a:t>Unauthenticated</a:t>
            </a:r>
            <a:r>
              <a:rPr lang="hu-HU" dirty="0"/>
              <a:t> change; </a:t>
            </a:r>
            <a:r>
              <a:rPr lang="hu-HU" dirty="0" err="1"/>
              <a:t>authenticated</a:t>
            </a:r>
            <a:r>
              <a:rPr lang="hu-HU" dirty="0"/>
              <a:t> </a:t>
            </a:r>
            <a:r>
              <a:rPr lang="hu-HU" dirty="0" err="1"/>
              <a:t>but</a:t>
            </a:r>
            <a:r>
              <a:rPr lang="hu-HU" dirty="0"/>
              <a:t> </a:t>
            </a:r>
            <a:r>
              <a:rPr lang="hu-HU" dirty="0" err="1"/>
              <a:t>unintentionally</a:t>
            </a:r>
            <a:r>
              <a:rPr lang="hu-HU" dirty="0"/>
              <a:t> change</a:t>
            </a:r>
          </a:p>
          <a:p>
            <a:pPr marL="0" indent="0">
              <a:buFontTx/>
              <a:buNone/>
            </a:pPr>
            <a:r>
              <a:rPr lang="hu-HU" dirty="0"/>
              <a:t>Availability</a:t>
            </a:r>
          </a:p>
          <a:p>
            <a:pPr marL="171450" indent="-171450">
              <a:buFontTx/>
              <a:buChar char="-"/>
            </a:pPr>
            <a:r>
              <a:rPr lang="hu-HU" dirty="0"/>
              <a:t>Elérhetőség a jogosult felhasználók számára, működőképesség </a:t>
            </a:r>
          </a:p>
          <a:p>
            <a:pPr marL="171450" indent="-171450">
              <a:buFontTx/>
              <a:buChar char="-"/>
            </a:pPr>
            <a:r>
              <a:rPr lang="hu-HU" dirty="0"/>
              <a:t>OT esetén ez a legfontosabb. Egy meghibásodás óriású kihatású lehet (konzervgyártás, paradicsomsűrítő, vagy kohó áramellátás, kihűlés, stb.)</a:t>
            </a:r>
          </a:p>
        </p:txBody>
      </p:sp>
      <p:sp>
        <p:nvSpPr>
          <p:cNvPr id="4" name="Slide Number Placeholder 3"/>
          <p:cNvSpPr>
            <a:spLocks noGrp="1"/>
          </p:cNvSpPr>
          <p:nvPr>
            <p:ph type="sldNum" sz="quarter" idx="5"/>
          </p:nvPr>
        </p:nvSpPr>
        <p:spPr/>
        <p:txBody>
          <a:bodyPr/>
          <a:lstStyle/>
          <a:p>
            <a:pPr>
              <a:defRPr/>
            </a:pPr>
            <a:fld id="{A85C5E1D-63B0-4AB6-97BB-D5527A9330C1}" type="slidenum">
              <a:rPr lang="de-DE" smtClean="0"/>
              <a:pPr>
                <a:defRPr/>
              </a:pPr>
              <a:t>3</a:t>
            </a:fld>
            <a:endParaRPr lang="de-DE" dirty="0"/>
          </a:p>
        </p:txBody>
      </p:sp>
    </p:spTree>
    <p:extLst>
      <p:ext uri="{BB962C8B-B14F-4D97-AF65-F5344CB8AC3E}">
        <p14:creationId xmlns:p14="http://schemas.microsoft.com/office/powerpoint/2010/main" val="31774158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pPr>
              <a:defRPr/>
            </a:pPr>
            <a:fld id="{A85C5E1D-63B0-4AB6-97BB-D5527A9330C1}" type="slidenum">
              <a:rPr lang="de-DE" smtClean="0"/>
              <a:pPr>
                <a:defRPr/>
              </a:pPr>
              <a:t>4</a:t>
            </a:fld>
            <a:endParaRPr lang="de-DE" dirty="0"/>
          </a:p>
        </p:txBody>
      </p:sp>
    </p:spTree>
    <p:extLst>
      <p:ext uri="{BB962C8B-B14F-4D97-AF65-F5344CB8AC3E}">
        <p14:creationId xmlns:p14="http://schemas.microsoft.com/office/powerpoint/2010/main" val="28088932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hu-HU" dirty="0"/>
              <a:t>hálózati szeparáció nélkül integráltak az IT hálózattal</a:t>
            </a:r>
          </a:p>
          <a:p>
            <a:pPr marL="171450" indent="-171450">
              <a:buFontTx/>
              <a:buChar char="-"/>
            </a:pPr>
            <a:r>
              <a:rPr lang="hu-HU" dirty="0"/>
              <a:t>Vegyesen vezetékes, vezeték nélküli elérése az OT rendszereknek, többször tűzfal nélkül</a:t>
            </a:r>
          </a:p>
          <a:p>
            <a:pPr marL="0" indent="0">
              <a:buFontTx/>
              <a:buNone/>
            </a:pPr>
            <a:r>
              <a:rPr lang="hu-HU" dirty="0"/>
              <a:t>A végpontok száma nem pontosan ismert</a:t>
            </a:r>
          </a:p>
          <a:p>
            <a:pPr marL="171450" indent="-171450">
              <a:buFontTx/>
              <a:buChar char="-"/>
            </a:pPr>
            <a:r>
              <a:rPr lang="hu-HU" dirty="0"/>
              <a:t>Nem csak OT specifikus, hanem szinte a teljes IT, </a:t>
            </a:r>
            <a:r>
              <a:rPr lang="hu-HU" dirty="0" err="1"/>
              <a:t>Telco</a:t>
            </a:r>
            <a:r>
              <a:rPr lang="hu-HU" dirty="0"/>
              <a:t> szegmensben ez probléma</a:t>
            </a:r>
          </a:p>
          <a:p>
            <a:pPr marL="0" indent="0">
              <a:buFontTx/>
              <a:buNone/>
            </a:pPr>
            <a:r>
              <a:rPr lang="hu-HU" dirty="0"/>
              <a:t>A végpontok forgalmai nem ismertek, nem monitorozottak és nem felügyeltek</a:t>
            </a:r>
          </a:p>
          <a:p>
            <a:pPr marL="0" indent="0">
              <a:buFontTx/>
              <a:buNone/>
            </a:pPr>
            <a:r>
              <a:rPr lang="hu-HU" dirty="0"/>
              <a:t>- Szegmentáció nélküli hálózati kialakítás esetén ez nem is megoldható </a:t>
            </a:r>
          </a:p>
          <a:p>
            <a:pPr marL="0" indent="0">
              <a:buFontTx/>
              <a:buNone/>
            </a:pPr>
            <a:r>
              <a:rPr lang="hu-HU" dirty="0"/>
              <a:t>A rendszerek software frissítése </a:t>
            </a:r>
          </a:p>
          <a:p>
            <a:pPr marL="171450" indent="-171450">
              <a:buFontTx/>
              <a:buChar char="-"/>
            </a:pPr>
            <a:r>
              <a:rPr lang="hu-HU" dirty="0"/>
              <a:t>Nincsenek lekövetve a sérülékenységek javításai, hosszú ideig futnak akár sérülékenységgel is a rendszerek</a:t>
            </a:r>
          </a:p>
          <a:p>
            <a:pPr marL="0" indent="0">
              <a:buFontTx/>
              <a:buNone/>
            </a:pPr>
            <a:r>
              <a:rPr lang="hu-HU" dirty="0"/>
              <a:t>Felhasználókezelés</a:t>
            </a:r>
          </a:p>
          <a:p>
            <a:pPr marL="0" indent="0">
              <a:buFontTx/>
              <a:buNone/>
            </a:pPr>
            <a:r>
              <a:rPr lang="hu-HU" dirty="0"/>
              <a:t>- Abszolút nem prioritás, </a:t>
            </a:r>
            <a:r>
              <a:rPr lang="hu-HU" dirty="0" err="1"/>
              <a:t>csordauserek</a:t>
            </a:r>
            <a:r>
              <a:rPr lang="hu-HU" dirty="0"/>
              <a:t> mindenhol, nem visszakövethető és nem bizonyítható, hogy ki végezte a módosításokat</a:t>
            </a:r>
          </a:p>
          <a:p>
            <a:pPr marL="0" indent="0">
              <a:buFontTx/>
              <a:buNone/>
            </a:pPr>
            <a:r>
              <a:rPr lang="hu-HU" dirty="0"/>
              <a:t>Access control</a:t>
            </a:r>
          </a:p>
          <a:p>
            <a:pPr marL="171450" indent="-171450">
              <a:buFontTx/>
              <a:buChar char="-"/>
            </a:pPr>
            <a:r>
              <a:rPr lang="hu-HU" dirty="0"/>
              <a:t>Az a fontos, hogy a rendszereket elérjék, tudják felügyelni, módosítani,  irodából, távolról, </a:t>
            </a:r>
          </a:p>
          <a:p>
            <a:pPr marL="171450" indent="-171450">
              <a:buFontTx/>
              <a:buChar char="-"/>
            </a:pPr>
            <a:r>
              <a:rPr lang="hu-HU" dirty="0"/>
              <a:t>Elérhető, nyitott RDP portok listája (</a:t>
            </a:r>
            <a:r>
              <a:rPr lang="hu-HU" dirty="0" err="1"/>
              <a:t>shodan</a:t>
            </a:r>
            <a:r>
              <a:rPr lang="hu-HU" dirty="0"/>
              <a:t>) </a:t>
            </a:r>
          </a:p>
          <a:p>
            <a:pPr marL="0" indent="0">
              <a:buFontTx/>
              <a:buNone/>
            </a:pPr>
            <a:r>
              <a:rPr lang="hu-HU" dirty="0"/>
              <a:t>Nem támogatott OS-ek</a:t>
            </a:r>
          </a:p>
          <a:p>
            <a:pPr marL="0" indent="0">
              <a:buFontTx/>
              <a:buNone/>
            </a:pPr>
            <a:r>
              <a:rPr lang="hu-HU" dirty="0"/>
              <a:t>- Nem is frissítettek (</a:t>
            </a:r>
            <a:r>
              <a:rPr lang="hu-HU" dirty="0" err="1"/>
              <a:t>wannacry</a:t>
            </a:r>
            <a:r>
              <a:rPr lang="hu-HU" dirty="0"/>
              <a:t> ransomware nyitott SMB port), és sok hiba már nem is kerül frissítésre</a:t>
            </a:r>
          </a:p>
          <a:p>
            <a:pPr marL="0" indent="0">
              <a:buFontTx/>
              <a:buNone/>
            </a:pPr>
            <a:r>
              <a:rPr lang="hu-HU" dirty="0"/>
              <a:t>Rendszer mentések</a:t>
            </a:r>
          </a:p>
          <a:p>
            <a:pPr marL="0" indent="0">
              <a:buFontTx/>
              <a:buNone/>
            </a:pPr>
            <a:r>
              <a:rPr lang="hu-HU" dirty="0"/>
              <a:t>- </a:t>
            </a:r>
            <a:r>
              <a:rPr lang="hu-HU" dirty="0" err="1"/>
              <a:t>Mikropakk</a:t>
            </a:r>
            <a:r>
              <a:rPr lang="hu-HU" dirty="0"/>
              <a:t> ransomware támadásakor hivatalos mentés nem volt, csak egy </a:t>
            </a:r>
            <a:r>
              <a:rPr lang="hu-HU" dirty="0" err="1"/>
              <a:t>dropbox-ba</a:t>
            </a:r>
            <a:r>
              <a:rPr lang="hu-HU" dirty="0"/>
              <a:t> mentett adatbázis, ami megmentett a céget</a:t>
            </a:r>
          </a:p>
          <a:p>
            <a:pPr marL="0" indent="0">
              <a:buFontTx/>
              <a:buNone/>
            </a:pPr>
            <a:r>
              <a:rPr lang="hu-HU" dirty="0"/>
              <a:t>Friss és gyakorolt DRP</a:t>
            </a:r>
          </a:p>
          <a:p>
            <a:pPr marL="0" indent="0">
              <a:buFontTx/>
              <a:buNone/>
            </a:pPr>
            <a:r>
              <a:rPr lang="hu-HU" dirty="0"/>
              <a:t>- Nagyon kevés valóban működő DRP terv van, és a gyártás folytonossága miatt erre nem is nagyon van lehetőség</a:t>
            </a:r>
          </a:p>
          <a:p>
            <a:pPr marL="171450" indent="-171450">
              <a:buFontTx/>
              <a:buChar char="-"/>
            </a:pPr>
            <a:endParaRPr lang="hu-HU" dirty="0"/>
          </a:p>
          <a:p>
            <a:pPr marL="0" indent="0">
              <a:buFontTx/>
              <a:buNone/>
            </a:pPr>
            <a:endParaRPr lang="hu-HU" dirty="0"/>
          </a:p>
        </p:txBody>
      </p:sp>
      <p:sp>
        <p:nvSpPr>
          <p:cNvPr id="4" name="Slide Number Placeholder 3"/>
          <p:cNvSpPr>
            <a:spLocks noGrp="1"/>
          </p:cNvSpPr>
          <p:nvPr>
            <p:ph type="sldNum" sz="quarter" idx="5"/>
          </p:nvPr>
        </p:nvSpPr>
        <p:spPr/>
        <p:txBody>
          <a:bodyPr/>
          <a:lstStyle/>
          <a:p>
            <a:pPr>
              <a:defRPr/>
            </a:pPr>
            <a:fld id="{A85C5E1D-63B0-4AB6-97BB-D5527A9330C1}" type="slidenum">
              <a:rPr lang="de-DE" smtClean="0"/>
              <a:pPr>
                <a:defRPr/>
              </a:pPr>
              <a:t>5</a:t>
            </a:fld>
            <a:endParaRPr lang="de-DE" dirty="0"/>
          </a:p>
        </p:txBody>
      </p:sp>
    </p:spTree>
    <p:extLst>
      <p:ext uri="{BB962C8B-B14F-4D97-AF65-F5344CB8AC3E}">
        <p14:creationId xmlns:p14="http://schemas.microsoft.com/office/powerpoint/2010/main" val="4504792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hu-HU" dirty="0" err="1"/>
              <a:t>Stuxnet</a:t>
            </a:r>
            <a:endParaRPr lang="hu-HU" dirty="0"/>
          </a:p>
          <a:p>
            <a:pPr marL="171450" indent="-171450">
              <a:buFontTx/>
              <a:buChar char="-"/>
            </a:pPr>
            <a:r>
              <a:rPr lang="hu-HU" dirty="0"/>
              <a:t>2010-es években fedezték fel az iráni atomprogramban</a:t>
            </a:r>
          </a:p>
          <a:p>
            <a:pPr marL="171450" indent="-171450">
              <a:buFontTx/>
              <a:buChar char="-"/>
            </a:pPr>
            <a:r>
              <a:rPr lang="hu-HU" dirty="0"/>
              <a:t>Az urándúsítók centrifugáinak csapágyazását tették tönkre a centrifugák fordulatszámának magas </a:t>
            </a:r>
            <a:r>
              <a:rPr lang="hu-HU" dirty="0" err="1"/>
              <a:t>fordulaszámával</a:t>
            </a:r>
            <a:r>
              <a:rPr lang="hu-HU" dirty="0"/>
              <a:t>, míg a control megfelelő működést jelzett</a:t>
            </a:r>
          </a:p>
          <a:p>
            <a:pPr marL="171450" indent="-171450">
              <a:buFontTx/>
              <a:buChar char="-"/>
            </a:pPr>
            <a:r>
              <a:rPr lang="hu-HU" dirty="0"/>
              <a:t>2010 Novemberében leállt az iráni atomprogram</a:t>
            </a:r>
          </a:p>
          <a:p>
            <a:pPr marL="0" indent="0">
              <a:buFontTx/>
              <a:buNone/>
            </a:pPr>
            <a:r>
              <a:rPr lang="hu-HU" dirty="0" err="1"/>
              <a:t>Ukranenergo</a:t>
            </a:r>
            <a:endParaRPr lang="hu-HU" dirty="0"/>
          </a:p>
          <a:p>
            <a:pPr marL="171450" indent="-171450">
              <a:buFontTx/>
              <a:buChar char="-"/>
            </a:pPr>
            <a:r>
              <a:rPr lang="hu-HU" dirty="0"/>
              <a:t>MVM: Ha áram van, minden van </a:t>
            </a:r>
          </a:p>
          <a:p>
            <a:pPr marL="171450" indent="-171450">
              <a:buFontTx/>
              <a:buChar char="-"/>
            </a:pPr>
            <a:r>
              <a:rPr lang="hu-HU" dirty="0"/>
              <a:t>2017 Dec 17-18. (tél Ukrajnában) </a:t>
            </a:r>
          </a:p>
          <a:p>
            <a:pPr marL="171450" indent="-171450">
              <a:buFontTx/>
              <a:buChar char="-"/>
            </a:pPr>
            <a:r>
              <a:rPr lang="hu-HU" dirty="0"/>
              <a:t>Orosz kibertámadás</a:t>
            </a:r>
          </a:p>
          <a:p>
            <a:pPr marL="0" indent="0">
              <a:buFontTx/>
              <a:buNone/>
            </a:pPr>
            <a:r>
              <a:rPr lang="hu-HU" dirty="0" err="1"/>
              <a:t>Norsk</a:t>
            </a:r>
            <a:r>
              <a:rPr lang="hu-HU" dirty="0"/>
              <a:t> </a:t>
            </a:r>
            <a:r>
              <a:rPr lang="hu-HU" dirty="0" err="1"/>
              <a:t>Hydro</a:t>
            </a:r>
            <a:r>
              <a:rPr lang="hu-HU" dirty="0"/>
              <a:t> </a:t>
            </a:r>
          </a:p>
          <a:p>
            <a:pPr marL="171450" indent="-171450">
              <a:buFontTx/>
              <a:buChar char="-"/>
            </a:pPr>
            <a:r>
              <a:rPr lang="hu-HU" dirty="0"/>
              <a:t>1 hétre megállt a </a:t>
            </a:r>
            <a:r>
              <a:rPr lang="hu-HU" dirty="0" err="1"/>
              <a:t>Hydro</a:t>
            </a:r>
            <a:r>
              <a:rPr lang="hu-HU" dirty="0"/>
              <a:t> termelése Európa szerte</a:t>
            </a:r>
          </a:p>
          <a:p>
            <a:pPr marL="171450" indent="-171450">
              <a:buFontTx/>
              <a:buChar char="-"/>
            </a:pPr>
            <a:r>
              <a:rPr lang="hu-HU" dirty="0"/>
              <a:t>Elkezdtünk dolgozni a </a:t>
            </a:r>
            <a:r>
              <a:rPr lang="hu-HU" dirty="0" err="1"/>
              <a:t>Hydro-val</a:t>
            </a:r>
            <a:r>
              <a:rPr lang="hu-HU" dirty="0"/>
              <a:t> ennek az eseménynek a hatásaként</a:t>
            </a:r>
          </a:p>
          <a:p>
            <a:pPr marL="171450" indent="-171450">
              <a:buFontTx/>
              <a:buChar char="-"/>
            </a:pPr>
            <a:r>
              <a:rPr lang="hu-HU" dirty="0"/>
              <a:t>Költség mértéke is figyelemfelhívó</a:t>
            </a:r>
          </a:p>
          <a:p>
            <a:pPr marL="0" indent="0">
              <a:buFontTx/>
              <a:buNone/>
            </a:pPr>
            <a:r>
              <a:rPr lang="hu-HU" dirty="0" err="1"/>
              <a:t>Colonial</a:t>
            </a:r>
            <a:r>
              <a:rPr lang="hu-HU" dirty="0"/>
              <a:t> </a:t>
            </a:r>
            <a:r>
              <a:rPr lang="hu-HU" dirty="0" err="1"/>
              <a:t>Pipeline</a:t>
            </a:r>
            <a:endParaRPr lang="hu-HU" dirty="0"/>
          </a:p>
          <a:p>
            <a:pPr marL="171450" indent="-171450">
              <a:buFontTx/>
              <a:buChar char="-"/>
            </a:pPr>
            <a:r>
              <a:rPr lang="hu-HU" dirty="0"/>
              <a:t>Nagyon részletesen kielemzett orosz támadás</a:t>
            </a:r>
          </a:p>
          <a:p>
            <a:pPr marL="0" indent="0">
              <a:buFontTx/>
              <a:buNone/>
            </a:pPr>
            <a:r>
              <a:rPr lang="hu-HU" dirty="0"/>
              <a:t>Magyar, általunk ismert, de nem publikusan kielemzett példák</a:t>
            </a:r>
          </a:p>
          <a:p>
            <a:pPr marL="171450" indent="-171450">
              <a:buFontTx/>
              <a:buChar char="-"/>
            </a:pPr>
            <a:r>
              <a:rPr lang="hu-HU" dirty="0" err="1"/>
              <a:t>Mikropakk</a:t>
            </a:r>
            <a:endParaRPr lang="hu-HU" dirty="0"/>
          </a:p>
          <a:p>
            <a:pPr marL="171450" indent="-171450">
              <a:buFontTx/>
              <a:buChar char="-"/>
            </a:pPr>
            <a:r>
              <a:rPr lang="hu-HU" dirty="0" err="1"/>
              <a:t>Würth</a:t>
            </a:r>
            <a:r>
              <a:rPr lang="hu-HU" dirty="0"/>
              <a:t> </a:t>
            </a:r>
          </a:p>
          <a:p>
            <a:pPr marL="171450" indent="-171450">
              <a:buFontTx/>
              <a:buChar char="-"/>
            </a:pPr>
            <a:endParaRPr lang="hu-HU" dirty="0"/>
          </a:p>
          <a:p>
            <a:pPr marL="171450" indent="-171450">
              <a:buFontTx/>
              <a:buChar char="-"/>
            </a:pPr>
            <a:endParaRPr lang="hu-HU" dirty="0"/>
          </a:p>
        </p:txBody>
      </p:sp>
      <p:sp>
        <p:nvSpPr>
          <p:cNvPr id="4" name="Slide Number Placeholder 3"/>
          <p:cNvSpPr>
            <a:spLocks noGrp="1"/>
          </p:cNvSpPr>
          <p:nvPr>
            <p:ph type="sldNum" sz="quarter" idx="5"/>
          </p:nvPr>
        </p:nvSpPr>
        <p:spPr/>
        <p:txBody>
          <a:bodyPr/>
          <a:lstStyle/>
          <a:p>
            <a:pPr>
              <a:defRPr/>
            </a:pPr>
            <a:fld id="{A85C5E1D-63B0-4AB6-97BB-D5527A9330C1}" type="slidenum">
              <a:rPr lang="de-DE" smtClean="0"/>
              <a:pPr>
                <a:defRPr/>
              </a:pPr>
              <a:t>6</a:t>
            </a:fld>
            <a:endParaRPr lang="de-DE" dirty="0"/>
          </a:p>
        </p:txBody>
      </p:sp>
    </p:spTree>
    <p:extLst>
      <p:ext uri="{BB962C8B-B14F-4D97-AF65-F5344CB8AC3E}">
        <p14:creationId xmlns:p14="http://schemas.microsoft.com/office/powerpoint/2010/main" val="40878625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image 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23DC706-FF19-0519-32D1-27E11AEDB41E}"/>
              </a:ext>
            </a:extLst>
          </p:cNvPr>
          <p:cNvGraphicFramePr>
            <a:graphicFrameLocks noChangeAspect="1"/>
          </p:cNvGraphicFramePr>
          <p:nvPr userDrawn="1">
            <p:custDataLst>
              <p:tags r:id="rId1"/>
            </p:custDataLst>
            <p:extLst>
              <p:ext uri="{D42A27DB-BD31-4B8C-83A1-F6EECF244321}">
                <p14:modId xmlns:p14="http://schemas.microsoft.com/office/powerpoint/2010/main" val="3521693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8" name="Objekt 7" hidden="1">
                        <a:extLst>
                          <a:ext uri="{FF2B5EF4-FFF2-40B4-BE49-F238E27FC236}">
                            <a16:creationId xmlns:a16="http://schemas.microsoft.com/office/drawing/2014/main" id="{023DC706-FF19-0519-32D1-27E11AEDB4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Freihandform: Form 21">
            <a:extLst>
              <a:ext uri="{FF2B5EF4-FFF2-40B4-BE49-F238E27FC236}">
                <a16:creationId xmlns:a16="http://schemas.microsoft.com/office/drawing/2014/main" id="{4EEE8D37-DBFB-DC39-9B34-E97A1D99DA9A}"/>
              </a:ext>
            </a:extLst>
          </p:cNvPr>
          <p:cNvSpPr/>
          <p:nvPr userDrawn="1"/>
        </p:nvSpPr>
        <p:spPr>
          <a:xfrm>
            <a:off x="0" y="0"/>
            <a:ext cx="6225435" cy="6858000"/>
          </a:xfrm>
          <a:custGeom>
            <a:avLst/>
            <a:gdLst>
              <a:gd name="connsiteX0" fmla="*/ 0 w 7005849"/>
              <a:gd name="connsiteY0" fmla="*/ 0 h 6858000"/>
              <a:gd name="connsiteX1" fmla="*/ 1424840 w 7005849"/>
              <a:gd name="connsiteY1" fmla="*/ 0 h 6858000"/>
              <a:gd name="connsiteX2" fmla="*/ 3126959 w 7005849"/>
              <a:gd name="connsiteY2" fmla="*/ 0 h 6858000"/>
              <a:gd name="connsiteX3" fmla="*/ 4551799 w 7005849"/>
              <a:gd name="connsiteY3" fmla="*/ 0 h 6858000"/>
              <a:gd name="connsiteX4" fmla="*/ 7005849 w 7005849"/>
              <a:gd name="connsiteY4" fmla="*/ 3266104 h 6858000"/>
              <a:gd name="connsiteX5" fmla="*/ 4539546 w 7005849"/>
              <a:gd name="connsiteY5" fmla="*/ 6858000 h 6858000"/>
              <a:gd name="connsiteX6" fmla="*/ 3114706 w 7005849"/>
              <a:gd name="connsiteY6" fmla="*/ 6858000 h 6858000"/>
              <a:gd name="connsiteX7" fmla="*/ 1424840 w 7005849"/>
              <a:gd name="connsiteY7" fmla="*/ 6858000 h 6858000"/>
              <a:gd name="connsiteX8" fmla="*/ 0 w 7005849"/>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05849" h="6858000">
                <a:moveTo>
                  <a:pt x="0" y="0"/>
                </a:moveTo>
                <a:lnTo>
                  <a:pt x="1424840" y="0"/>
                </a:lnTo>
                <a:lnTo>
                  <a:pt x="3126959" y="0"/>
                </a:lnTo>
                <a:lnTo>
                  <a:pt x="4551799" y="0"/>
                </a:lnTo>
                <a:lnTo>
                  <a:pt x="7005849" y="3266104"/>
                </a:lnTo>
                <a:lnTo>
                  <a:pt x="4539546" y="6858000"/>
                </a:lnTo>
                <a:lnTo>
                  <a:pt x="3114706" y="6858000"/>
                </a:lnTo>
                <a:lnTo>
                  <a:pt x="1424840" y="6858000"/>
                </a:lnTo>
                <a:lnTo>
                  <a:pt x="0" y="6858000"/>
                </a:lnTo>
                <a:close/>
              </a:path>
            </a:pathLst>
          </a:custGeom>
          <a:gradFill>
            <a:gsLst>
              <a:gs pos="11000">
                <a:schemeClr val="accent1"/>
              </a:gs>
              <a:gs pos="100000">
                <a:schemeClr val="accent3"/>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Bildplatzhalter 20">
            <a:extLst>
              <a:ext uri="{FF2B5EF4-FFF2-40B4-BE49-F238E27FC236}">
                <a16:creationId xmlns:a16="http://schemas.microsoft.com/office/drawing/2014/main" id="{23097CE0-19B7-EEF1-2B8D-4677D11C71A8}"/>
              </a:ext>
            </a:extLst>
          </p:cNvPr>
          <p:cNvSpPr>
            <a:spLocks noGrp="1"/>
          </p:cNvSpPr>
          <p:nvPr>
            <p:ph type="pic" sz="quarter" idx="10" hasCustomPrompt="1"/>
          </p:nvPr>
        </p:nvSpPr>
        <p:spPr>
          <a:xfrm>
            <a:off x="4033865" y="0"/>
            <a:ext cx="8158134" cy="6858000"/>
          </a:xfrm>
          <a:custGeom>
            <a:avLst/>
            <a:gdLst>
              <a:gd name="connsiteX0" fmla="*/ 10888 w 8158134"/>
              <a:gd name="connsiteY0" fmla="*/ 0 h 6858000"/>
              <a:gd name="connsiteX1" fmla="*/ 509106 w 8158134"/>
              <a:gd name="connsiteY1" fmla="*/ 0 h 6858000"/>
              <a:gd name="connsiteX2" fmla="*/ 8158134 w 8158134"/>
              <a:gd name="connsiteY2" fmla="*/ 0 h 6858000"/>
              <a:gd name="connsiteX3" fmla="*/ 8158134 w 8158134"/>
              <a:gd name="connsiteY3" fmla="*/ 6858000 h 6858000"/>
              <a:gd name="connsiteX4" fmla="*/ 509106 w 8158134"/>
              <a:gd name="connsiteY4" fmla="*/ 6858000 h 6858000"/>
              <a:gd name="connsiteX5" fmla="*/ 0 w 8158134"/>
              <a:gd name="connsiteY5" fmla="*/ 6858000 h 6858000"/>
              <a:gd name="connsiteX6" fmla="*/ 509106 w 8158134"/>
              <a:gd name="connsiteY6" fmla="*/ 6023596 h 6858000"/>
              <a:gd name="connsiteX7" fmla="*/ 509106 w 8158134"/>
              <a:gd name="connsiteY7" fmla="*/ 6023596 h 6858000"/>
              <a:gd name="connsiteX8" fmla="*/ 2191570 w 8158134"/>
              <a:gd name="connsiteY8" fmla="*/ 3266104 h 6858000"/>
              <a:gd name="connsiteX9" fmla="*/ 509106 w 8158134"/>
              <a:gd name="connsiteY9" fmla="*/ 746203 h 6858000"/>
              <a:gd name="connsiteX10" fmla="*/ 509106 w 8158134"/>
              <a:gd name="connsiteY10" fmla="*/ 74620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58134" h="6858000">
                <a:moveTo>
                  <a:pt x="10888" y="0"/>
                </a:moveTo>
                <a:lnTo>
                  <a:pt x="509106" y="0"/>
                </a:lnTo>
                <a:lnTo>
                  <a:pt x="8158134" y="0"/>
                </a:lnTo>
                <a:lnTo>
                  <a:pt x="8158134" y="6858000"/>
                </a:lnTo>
                <a:lnTo>
                  <a:pt x="509106" y="6858000"/>
                </a:lnTo>
                <a:lnTo>
                  <a:pt x="0" y="6858000"/>
                </a:lnTo>
                <a:lnTo>
                  <a:pt x="509106" y="6023596"/>
                </a:lnTo>
                <a:lnTo>
                  <a:pt x="509106" y="6023596"/>
                </a:lnTo>
                <a:lnTo>
                  <a:pt x="2191570" y="3266104"/>
                </a:lnTo>
                <a:lnTo>
                  <a:pt x="509106" y="746203"/>
                </a:lnTo>
                <a:lnTo>
                  <a:pt x="509106" y="746203"/>
                </a:lnTo>
                <a:close/>
              </a:path>
            </a:pathLst>
          </a:custGeom>
          <a:solidFill>
            <a:schemeClr val="bg2"/>
          </a:solidFill>
        </p:spPr>
        <p:txBody>
          <a:bodyPr wrap="square" lIns="144000" tIns="144000" rIns="144000" bIns="144000">
            <a:noAutofit/>
          </a:bodyPr>
          <a:lstStyle>
            <a:lvl1pPr marL="0" indent="0" algn="r">
              <a:buNone/>
              <a:defRPr sz="1400"/>
            </a:lvl1pPr>
          </a:lstStyle>
          <a:p>
            <a:r>
              <a:rPr lang="en-US" dirty="0"/>
              <a:t>Please drag and drop image from folder</a:t>
            </a:r>
          </a:p>
        </p:txBody>
      </p:sp>
      <p:sp>
        <p:nvSpPr>
          <p:cNvPr id="2" name="Titel 1">
            <a:extLst>
              <a:ext uri="{FF2B5EF4-FFF2-40B4-BE49-F238E27FC236}">
                <a16:creationId xmlns:a16="http://schemas.microsoft.com/office/drawing/2014/main" id="{43AAB0E1-19E2-486E-9FA6-0A1F4F1C09D4}"/>
              </a:ext>
            </a:extLst>
          </p:cNvPr>
          <p:cNvSpPr>
            <a:spLocks noGrp="1"/>
          </p:cNvSpPr>
          <p:nvPr>
            <p:ph type="ctrTitle" hasCustomPrompt="1"/>
          </p:nvPr>
        </p:nvSpPr>
        <p:spPr>
          <a:xfrm>
            <a:off x="1511300" y="3666668"/>
            <a:ext cx="3186140" cy="886397"/>
          </a:xfrm>
        </p:spPr>
        <p:txBody>
          <a:bodyPr vert="horz" wrap="square" anchor="b"/>
          <a:lstStyle>
            <a:lvl1pPr algn="l">
              <a:defRPr sz="3200">
                <a:solidFill>
                  <a:schemeClr val="bg1"/>
                </a:solidFill>
              </a:defRPr>
            </a:lvl1pPr>
          </a:lstStyle>
          <a:p>
            <a:r>
              <a:rPr lang="de-DE" dirty="0"/>
              <a:t>Title in </a:t>
            </a:r>
            <a:r>
              <a:rPr lang="de-DE" dirty="0" err="1"/>
              <a:t>two</a:t>
            </a:r>
            <a:r>
              <a:rPr lang="de-DE" dirty="0"/>
              <a:t> </a:t>
            </a:r>
            <a:r>
              <a:rPr lang="de-DE" dirty="0" err="1"/>
              <a:t>lines</a:t>
            </a:r>
            <a:r>
              <a:rPr lang="de-DE" dirty="0"/>
              <a:t>, Calibri </a:t>
            </a:r>
            <a:r>
              <a:rPr lang="de-DE" dirty="0" err="1"/>
              <a:t>Bold</a:t>
            </a:r>
            <a:r>
              <a:rPr lang="de-DE" dirty="0"/>
              <a:t>, 32pt</a:t>
            </a:r>
            <a:endParaRPr lang="en-US" dirty="0"/>
          </a:p>
        </p:txBody>
      </p:sp>
      <p:sp>
        <p:nvSpPr>
          <p:cNvPr id="3" name="Untertitel 2">
            <a:extLst>
              <a:ext uri="{FF2B5EF4-FFF2-40B4-BE49-F238E27FC236}">
                <a16:creationId xmlns:a16="http://schemas.microsoft.com/office/drawing/2014/main" id="{1D2245C3-0347-4A19-B37F-371700C8C7F8}"/>
              </a:ext>
            </a:extLst>
          </p:cNvPr>
          <p:cNvSpPr>
            <a:spLocks noGrp="1"/>
          </p:cNvSpPr>
          <p:nvPr>
            <p:ph type="subTitle" idx="1" hasCustomPrompt="1"/>
          </p:nvPr>
        </p:nvSpPr>
        <p:spPr>
          <a:xfrm>
            <a:off x="1511300" y="4780278"/>
            <a:ext cx="3186140" cy="615553"/>
          </a:xfrm>
        </p:spPr>
        <p:txBody>
          <a:bodyPr wrap="square">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err="1"/>
              <a:t>Subtitle</a:t>
            </a:r>
            <a:r>
              <a:rPr lang="de-DE" dirty="0"/>
              <a:t> in </a:t>
            </a:r>
            <a:r>
              <a:rPr lang="de-DE" dirty="0" err="1"/>
              <a:t>two</a:t>
            </a:r>
            <a:r>
              <a:rPr lang="de-DE" dirty="0"/>
              <a:t> </a:t>
            </a:r>
            <a:r>
              <a:rPr lang="de-DE" dirty="0" err="1"/>
              <a:t>lines</a:t>
            </a:r>
            <a:r>
              <a:rPr lang="de-DE" dirty="0"/>
              <a:t>,</a:t>
            </a:r>
            <a:br>
              <a:rPr lang="de-DE" dirty="0"/>
            </a:br>
            <a:r>
              <a:rPr lang="de-DE" dirty="0"/>
              <a:t>Calibri Light, 20pt</a:t>
            </a:r>
            <a:endParaRPr lang="en-US" dirty="0"/>
          </a:p>
        </p:txBody>
      </p:sp>
      <p:grpSp>
        <p:nvGrpSpPr>
          <p:cNvPr id="16" name="Gruppieren 15">
            <a:extLst>
              <a:ext uri="{FF2B5EF4-FFF2-40B4-BE49-F238E27FC236}">
                <a16:creationId xmlns:a16="http://schemas.microsoft.com/office/drawing/2014/main" id="{E1B9FE59-E765-87C9-6C46-7BFE87D7141D}"/>
              </a:ext>
            </a:extLst>
          </p:cNvPr>
          <p:cNvGrpSpPr/>
          <p:nvPr userDrawn="1"/>
        </p:nvGrpSpPr>
        <p:grpSpPr>
          <a:xfrm>
            <a:off x="695324" y="1628872"/>
            <a:ext cx="2998881" cy="568325"/>
            <a:chOff x="10407695" y="441325"/>
            <a:chExt cx="1088979" cy="206375"/>
          </a:xfrm>
          <a:solidFill>
            <a:schemeClr val="bg1"/>
          </a:solidFill>
        </p:grpSpPr>
        <p:sp>
          <p:nvSpPr>
            <p:cNvPr id="17" name="Freeform: Shape 10">
              <a:extLst>
                <a:ext uri="{FF2B5EF4-FFF2-40B4-BE49-F238E27FC236}">
                  <a16:creationId xmlns:a16="http://schemas.microsoft.com/office/drawing/2014/main" id="{E74D6686-E590-C518-B1F2-02FB8BD99FCC}"/>
                </a:ext>
              </a:extLst>
            </p:cNvPr>
            <p:cNvSpPr/>
            <p:nvPr/>
          </p:nvSpPr>
          <p:spPr>
            <a:xfrm>
              <a:off x="10407695" y="441325"/>
              <a:ext cx="54179" cy="202059"/>
            </a:xfrm>
            <a:custGeom>
              <a:avLst/>
              <a:gdLst>
                <a:gd name="connsiteX0" fmla="*/ 92671 w 92670"/>
                <a:gd name="connsiteY0" fmla="*/ 0 h 338478"/>
                <a:gd name="connsiteX1" fmla="*/ 0 w 92670"/>
                <a:gd name="connsiteY1" fmla="*/ 0 h 338478"/>
                <a:gd name="connsiteX2" fmla="*/ 0 w 92670"/>
                <a:gd name="connsiteY2" fmla="*/ 338478 h 338478"/>
                <a:gd name="connsiteX3" fmla="*/ 92671 w 92670"/>
                <a:gd name="connsiteY3" fmla="*/ 217546 h 338478"/>
              </a:gdLst>
              <a:ahLst/>
              <a:cxnLst>
                <a:cxn ang="0">
                  <a:pos x="connsiteX0" y="connsiteY0"/>
                </a:cxn>
                <a:cxn ang="0">
                  <a:pos x="connsiteX1" y="connsiteY1"/>
                </a:cxn>
                <a:cxn ang="0">
                  <a:pos x="connsiteX2" y="connsiteY2"/>
                </a:cxn>
                <a:cxn ang="0">
                  <a:pos x="connsiteX3" y="connsiteY3"/>
                </a:cxn>
              </a:cxnLst>
              <a:rect l="l" t="t" r="r" b="b"/>
              <a:pathLst>
                <a:path w="92670" h="338478">
                  <a:moveTo>
                    <a:pt x="92671" y="0"/>
                  </a:moveTo>
                  <a:lnTo>
                    <a:pt x="0" y="0"/>
                  </a:lnTo>
                  <a:lnTo>
                    <a:pt x="0" y="338478"/>
                  </a:lnTo>
                  <a:lnTo>
                    <a:pt x="92671" y="217546"/>
                  </a:lnTo>
                  <a:close/>
                </a:path>
              </a:pathLst>
            </a:custGeom>
            <a:grpFill/>
            <a:ln w="6540" cap="flat">
              <a:noFill/>
              <a:prstDash val="solid"/>
              <a:miter/>
            </a:ln>
          </p:spPr>
          <p:txBody>
            <a:bodyPr rtlCol="0" anchor="ctr"/>
            <a:lstStyle/>
            <a:p>
              <a:endParaRPr lang="en-GB"/>
            </a:p>
          </p:txBody>
        </p:sp>
        <p:sp>
          <p:nvSpPr>
            <p:cNvPr id="18" name="Freeform: Shape 11">
              <a:extLst>
                <a:ext uri="{FF2B5EF4-FFF2-40B4-BE49-F238E27FC236}">
                  <a16:creationId xmlns:a16="http://schemas.microsoft.com/office/drawing/2014/main" id="{A2C0295E-6546-3814-559C-9C3256D5B092}"/>
                </a:ext>
              </a:extLst>
            </p:cNvPr>
            <p:cNvSpPr/>
            <p:nvPr/>
          </p:nvSpPr>
          <p:spPr>
            <a:xfrm>
              <a:off x="10461874" y="441325"/>
              <a:ext cx="1034800" cy="206375"/>
            </a:xfrm>
            <a:custGeom>
              <a:avLst/>
              <a:gdLst>
                <a:gd name="connsiteX0" fmla="*/ 196515 w 1769954"/>
                <a:gd name="connsiteY0" fmla="*/ 92671 h 345708"/>
                <a:gd name="connsiteX1" fmla="*/ 99243 w 1769954"/>
                <a:gd name="connsiteY1" fmla="*/ 217546 h 345708"/>
                <a:gd name="connsiteX2" fmla="*/ 194543 w 1769954"/>
                <a:gd name="connsiteY2" fmla="*/ 338478 h 345708"/>
                <a:gd name="connsiteX3" fmla="*/ 84784 w 1769954"/>
                <a:gd name="connsiteY3" fmla="*/ 338478 h 345708"/>
                <a:gd name="connsiteX4" fmla="*/ 0 w 1769954"/>
                <a:gd name="connsiteY4" fmla="*/ 217546 h 345708"/>
                <a:gd name="connsiteX5" fmla="*/ 95300 w 1769954"/>
                <a:gd name="connsiteY5" fmla="*/ 93328 h 345708"/>
                <a:gd name="connsiteX6" fmla="*/ 196515 w 1769954"/>
                <a:gd name="connsiteY6" fmla="*/ 92671 h 345708"/>
                <a:gd name="connsiteX7" fmla="*/ 338478 w 1769954"/>
                <a:gd name="connsiteY7" fmla="*/ 85441 h 345708"/>
                <a:gd name="connsiteX8" fmla="*/ 195857 w 1769954"/>
                <a:gd name="connsiteY8" fmla="*/ 215575 h 345708"/>
                <a:gd name="connsiteX9" fmla="*/ 338478 w 1769954"/>
                <a:gd name="connsiteY9" fmla="*/ 345708 h 345708"/>
                <a:gd name="connsiteX10" fmla="*/ 481100 w 1769954"/>
                <a:gd name="connsiteY10" fmla="*/ 215575 h 345708"/>
                <a:gd name="connsiteX11" fmla="*/ 338478 w 1769954"/>
                <a:gd name="connsiteY11" fmla="*/ 85441 h 345708"/>
                <a:gd name="connsiteX12" fmla="*/ 291157 w 1769954"/>
                <a:gd name="connsiteY12" fmla="*/ 215575 h 345708"/>
                <a:gd name="connsiteX13" fmla="*/ 338478 w 1769954"/>
                <a:gd name="connsiteY13" fmla="*/ 139335 h 345708"/>
                <a:gd name="connsiteX14" fmla="*/ 385800 w 1769954"/>
                <a:gd name="connsiteY14" fmla="*/ 215575 h 345708"/>
                <a:gd name="connsiteX15" fmla="*/ 338478 w 1769954"/>
                <a:gd name="connsiteY15" fmla="*/ 291814 h 345708"/>
                <a:gd name="connsiteX16" fmla="*/ 291157 w 1769954"/>
                <a:gd name="connsiteY16" fmla="*/ 215575 h 345708"/>
                <a:gd name="connsiteX17" fmla="*/ 683529 w 1769954"/>
                <a:gd name="connsiteY17" fmla="*/ 85441 h 345708"/>
                <a:gd name="connsiteX18" fmla="*/ 606632 w 1769954"/>
                <a:gd name="connsiteY18" fmla="*/ 119618 h 345708"/>
                <a:gd name="connsiteX19" fmla="*/ 605318 w 1769954"/>
                <a:gd name="connsiteY19" fmla="*/ 92671 h 345708"/>
                <a:gd name="connsiteX20" fmla="*/ 513962 w 1769954"/>
                <a:gd name="connsiteY20" fmla="*/ 92671 h 345708"/>
                <a:gd name="connsiteX21" fmla="*/ 513962 w 1769954"/>
                <a:gd name="connsiteY21" fmla="*/ 337821 h 345708"/>
                <a:gd name="connsiteX22" fmla="*/ 606632 w 1769954"/>
                <a:gd name="connsiteY22" fmla="*/ 337821 h 345708"/>
                <a:gd name="connsiteX23" fmla="*/ 606632 w 1769954"/>
                <a:gd name="connsiteY23" fmla="*/ 197172 h 345708"/>
                <a:gd name="connsiteX24" fmla="*/ 646724 w 1769954"/>
                <a:gd name="connsiteY24" fmla="*/ 143935 h 345708"/>
                <a:gd name="connsiteX25" fmla="*/ 682215 w 1769954"/>
                <a:gd name="connsiteY25" fmla="*/ 193886 h 345708"/>
                <a:gd name="connsiteX26" fmla="*/ 682215 w 1769954"/>
                <a:gd name="connsiteY26" fmla="*/ 337821 h 345708"/>
                <a:gd name="connsiteX27" fmla="*/ 774886 w 1769954"/>
                <a:gd name="connsiteY27" fmla="*/ 337821 h 345708"/>
                <a:gd name="connsiteX28" fmla="*/ 774886 w 1769954"/>
                <a:gd name="connsiteY28" fmla="*/ 173511 h 345708"/>
                <a:gd name="connsiteX29" fmla="*/ 683529 w 1769954"/>
                <a:gd name="connsiteY29" fmla="*/ 85441 h 345708"/>
                <a:gd name="connsiteX30" fmla="*/ 815635 w 1769954"/>
                <a:gd name="connsiteY30" fmla="*/ 260924 h 345708"/>
                <a:gd name="connsiteX31" fmla="*/ 912249 w 1769954"/>
                <a:gd name="connsiteY31" fmla="*/ 345051 h 345708"/>
                <a:gd name="connsiteX32" fmla="*/ 962199 w 1769954"/>
                <a:gd name="connsiteY32" fmla="*/ 340450 h 345708"/>
                <a:gd name="connsiteX33" fmla="*/ 962199 w 1769954"/>
                <a:gd name="connsiteY33" fmla="*/ 285242 h 345708"/>
                <a:gd name="connsiteX34" fmla="*/ 926708 w 1769954"/>
                <a:gd name="connsiteY34" fmla="*/ 286556 h 345708"/>
                <a:gd name="connsiteX35" fmla="*/ 908963 w 1769954"/>
                <a:gd name="connsiteY35" fmla="*/ 248437 h 345708"/>
                <a:gd name="connsiteX36" fmla="*/ 908963 w 1769954"/>
                <a:gd name="connsiteY36" fmla="*/ 151165 h 345708"/>
                <a:gd name="connsiteX37" fmla="*/ 962856 w 1769954"/>
                <a:gd name="connsiteY37" fmla="*/ 151165 h 345708"/>
                <a:gd name="connsiteX38" fmla="*/ 962856 w 1769954"/>
                <a:gd name="connsiteY38" fmla="*/ 93328 h 345708"/>
                <a:gd name="connsiteX39" fmla="*/ 908963 w 1769954"/>
                <a:gd name="connsiteY39" fmla="*/ 93328 h 345708"/>
                <a:gd name="connsiteX40" fmla="*/ 908963 w 1769954"/>
                <a:gd name="connsiteY40" fmla="*/ 0 h 345708"/>
                <a:gd name="connsiteX41" fmla="*/ 816292 w 1769954"/>
                <a:gd name="connsiteY41" fmla="*/ 120932 h 345708"/>
                <a:gd name="connsiteX42" fmla="*/ 815635 w 1769954"/>
                <a:gd name="connsiteY42" fmla="*/ 260924 h 345708"/>
                <a:gd name="connsiteX43" fmla="*/ 1097591 w 1769954"/>
                <a:gd name="connsiteY43" fmla="*/ 92671 h 345708"/>
                <a:gd name="connsiteX44" fmla="*/ 1006234 w 1769954"/>
                <a:gd name="connsiteY44" fmla="*/ 92671 h 345708"/>
                <a:gd name="connsiteX45" fmla="*/ 1006234 w 1769954"/>
                <a:gd name="connsiteY45" fmla="*/ 337821 h 345708"/>
                <a:gd name="connsiteX46" fmla="*/ 1098905 w 1769954"/>
                <a:gd name="connsiteY46" fmla="*/ 337821 h 345708"/>
                <a:gd name="connsiteX47" fmla="*/ 1098905 w 1769954"/>
                <a:gd name="connsiteY47" fmla="*/ 239235 h 345708"/>
                <a:gd name="connsiteX48" fmla="*/ 1162657 w 1769954"/>
                <a:gd name="connsiteY48" fmla="*/ 162995 h 345708"/>
                <a:gd name="connsiteX49" fmla="*/ 1182374 w 1769954"/>
                <a:gd name="connsiteY49" fmla="*/ 163653 h 345708"/>
                <a:gd name="connsiteX50" fmla="*/ 1182374 w 1769954"/>
                <a:gd name="connsiteY50" fmla="*/ 85441 h 345708"/>
                <a:gd name="connsiteX51" fmla="*/ 1100219 w 1769954"/>
                <a:gd name="connsiteY51" fmla="*/ 138678 h 345708"/>
                <a:gd name="connsiteX52" fmla="*/ 1099562 w 1769954"/>
                <a:gd name="connsiteY52" fmla="*/ 138678 h 345708"/>
                <a:gd name="connsiteX53" fmla="*/ 1097591 w 1769954"/>
                <a:gd name="connsiteY53" fmla="*/ 92671 h 345708"/>
                <a:gd name="connsiteX54" fmla="*/ 1338140 w 1769954"/>
                <a:gd name="connsiteY54" fmla="*/ 85441 h 345708"/>
                <a:gd name="connsiteX55" fmla="*/ 1195519 w 1769954"/>
                <a:gd name="connsiteY55" fmla="*/ 215575 h 345708"/>
                <a:gd name="connsiteX56" fmla="*/ 1338140 w 1769954"/>
                <a:gd name="connsiteY56" fmla="*/ 345708 h 345708"/>
                <a:gd name="connsiteX57" fmla="*/ 1480761 w 1769954"/>
                <a:gd name="connsiteY57" fmla="*/ 215575 h 345708"/>
                <a:gd name="connsiteX58" fmla="*/ 1338140 w 1769954"/>
                <a:gd name="connsiteY58" fmla="*/ 85441 h 345708"/>
                <a:gd name="connsiteX59" fmla="*/ 1290819 w 1769954"/>
                <a:gd name="connsiteY59" fmla="*/ 215575 h 345708"/>
                <a:gd name="connsiteX60" fmla="*/ 1338140 w 1769954"/>
                <a:gd name="connsiteY60" fmla="*/ 139335 h 345708"/>
                <a:gd name="connsiteX61" fmla="*/ 1385461 w 1769954"/>
                <a:gd name="connsiteY61" fmla="*/ 215575 h 345708"/>
                <a:gd name="connsiteX62" fmla="*/ 1338140 w 1769954"/>
                <a:gd name="connsiteY62" fmla="*/ 291814 h 345708"/>
                <a:gd name="connsiteX63" fmla="*/ 1290819 w 1769954"/>
                <a:gd name="connsiteY63" fmla="*/ 215575 h 345708"/>
                <a:gd name="connsiteX64" fmla="*/ 1678590 w 1769954"/>
                <a:gd name="connsiteY64" fmla="*/ 85441 h 345708"/>
                <a:gd name="connsiteX65" fmla="*/ 1601693 w 1769954"/>
                <a:gd name="connsiteY65" fmla="*/ 119618 h 345708"/>
                <a:gd name="connsiteX66" fmla="*/ 1600379 w 1769954"/>
                <a:gd name="connsiteY66" fmla="*/ 92671 h 345708"/>
                <a:gd name="connsiteX67" fmla="*/ 1509023 w 1769954"/>
                <a:gd name="connsiteY67" fmla="*/ 92671 h 345708"/>
                <a:gd name="connsiteX68" fmla="*/ 1509023 w 1769954"/>
                <a:gd name="connsiteY68" fmla="*/ 337821 h 345708"/>
                <a:gd name="connsiteX69" fmla="*/ 1601693 w 1769954"/>
                <a:gd name="connsiteY69" fmla="*/ 337821 h 345708"/>
                <a:gd name="connsiteX70" fmla="*/ 1601693 w 1769954"/>
                <a:gd name="connsiteY70" fmla="*/ 197829 h 345708"/>
                <a:gd name="connsiteX71" fmla="*/ 1641785 w 1769954"/>
                <a:gd name="connsiteY71" fmla="*/ 144593 h 345708"/>
                <a:gd name="connsiteX72" fmla="*/ 1677276 w 1769954"/>
                <a:gd name="connsiteY72" fmla="*/ 194543 h 345708"/>
                <a:gd name="connsiteX73" fmla="*/ 1677276 w 1769954"/>
                <a:gd name="connsiteY73" fmla="*/ 338478 h 345708"/>
                <a:gd name="connsiteX74" fmla="*/ 1769947 w 1769954"/>
                <a:gd name="connsiteY74" fmla="*/ 338478 h 345708"/>
                <a:gd name="connsiteX75" fmla="*/ 1769947 w 1769954"/>
                <a:gd name="connsiteY75" fmla="*/ 174169 h 345708"/>
                <a:gd name="connsiteX76" fmla="*/ 1678590 w 1769954"/>
                <a:gd name="connsiteY76" fmla="*/ 85441 h 34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69954" h="345708">
                  <a:moveTo>
                    <a:pt x="196515" y="92671"/>
                  </a:moveTo>
                  <a:lnTo>
                    <a:pt x="99243" y="217546"/>
                  </a:lnTo>
                  <a:lnTo>
                    <a:pt x="194543" y="338478"/>
                  </a:lnTo>
                  <a:lnTo>
                    <a:pt x="84784" y="338478"/>
                  </a:lnTo>
                  <a:lnTo>
                    <a:pt x="0" y="217546"/>
                  </a:lnTo>
                  <a:lnTo>
                    <a:pt x="95300" y="93328"/>
                  </a:lnTo>
                  <a:lnTo>
                    <a:pt x="196515" y="92671"/>
                  </a:lnTo>
                  <a:close/>
                  <a:moveTo>
                    <a:pt x="338478" y="85441"/>
                  </a:moveTo>
                  <a:cubicBezTo>
                    <a:pt x="261581" y="85441"/>
                    <a:pt x="195857" y="124876"/>
                    <a:pt x="195857" y="215575"/>
                  </a:cubicBezTo>
                  <a:cubicBezTo>
                    <a:pt x="195857" y="306274"/>
                    <a:pt x="261581" y="345708"/>
                    <a:pt x="338478" y="345708"/>
                  </a:cubicBezTo>
                  <a:cubicBezTo>
                    <a:pt x="415376" y="345708"/>
                    <a:pt x="481100" y="306274"/>
                    <a:pt x="481100" y="215575"/>
                  </a:cubicBezTo>
                  <a:cubicBezTo>
                    <a:pt x="481757" y="125533"/>
                    <a:pt x="415376" y="85441"/>
                    <a:pt x="338478" y="85441"/>
                  </a:cubicBezTo>
                  <a:close/>
                  <a:moveTo>
                    <a:pt x="291157" y="215575"/>
                  </a:moveTo>
                  <a:cubicBezTo>
                    <a:pt x="291157" y="180741"/>
                    <a:pt x="299701" y="139335"/>
                    <a:pt x="338478" y="139335"/>
                  </a:cubicBezTo>
                  <a:cubicBezTo>
                    <a:pt x="377256" y="139335"/>
                    <a:pt x="385800" y="180741"/>
                    <a:pt x="385800" y="215575"/>
                  </a:cubicBezTo>
                  <a:cubicBezTo>
                    <a:pt x="385800" y="250408"/>
                    <a:pt x="377256" y="291814"/>
                    <a:pt x="338478" y="291814"/>
                  </a:cubicBezTo>
                  <a:cubicBezTo>
                    <a:pt x="299701" y="291814"/>
                    <a:pt x="291157" y="250408"/>
                    <a:pt x="291157" y="215575"/>
                  </a:cubicBezTo>
                  <a:close/>
                  <a:moveTo>
                    <a:pt x="683529" y="85441"/>
                  </a:moveTo>
                  <a:cubicBezTo>
                    <a:pt x="651982" y="85441"/>
                    <a:pt x="627664" y="95300"/>
                    <a:pt x="606632" y="119618"/>
                  </a:cubicBezTo>
                  <a:lnTo>
                    <a:pt x="605318" y="92671"/>
                  </a:lnTo>
                  <a:lnTo>
                    <a:pt x="513962" y="92671"/>
                  </a:lnTo>
                  <a:lnTo>
                    <a:pt x="513962" y="337821"/>
                  </a:lnTo>
                  <a:lnTo>
                    <a:pt x="606632" y="337821"/>
                  </a:lnTo>
                  <a:lnTo>
                    <a:pt x="606632" y="197172"/>
                  </a:lnTo>
                  <a:cubicBezTo>
                    <a:pt x="606632" y="194543"/>
                    <a:pt x="600717" y="143935"/>
                    <a:pt x="646724" y="143935"/>
                  </a:cubicBezTo>
                  <a:cubicBezTo>
                    <a:pt x="675643" y="143935"/>
                    <a:pt x="681558" y="169568"/>
                    <a:pt x="682215" y="193886"/>
                  </a:cubicBezTo>
                  <a:lnTo>
                    <a:pt x="682215" y="337821"/>
                  </a:lnTo>
                  <a:lnTo>
                    <a:pt x="774886" y="337821"/>
                  </a:lnTo>
                  <a:lnTo>
                    <a:pt x="774886" y="173511"/>
                  </a:lnTo>
                  <a:cubicBezTo>
                    <a:pt x="774886" y="119618"/>
                    <a:pt x="736109" y="85441"/>
                    <a:pt x="683529" y="85441"/>
                  </a:cubicBezTo>
                  <a:close/>
                  <a:moveTo>
                    <a:pt x="815635" y="260924"/>
                  </a:moveTo>
                  <a:cubicBezTo>
                    <a:pt x="811034" y="336507"/>
                    <a:pt x="849154" y="345051"/>
                    <a:pt x="912249" y="345051"/>
                  </a:cubicBezTo>
                  <a:cubicBezTo>
                    <a:pt x="926051" y="345051"/>
                    <a:pt x="941167" y="344394"/>
                    <a:pt x="962199" y="340450"/>
                  </a:cubicBezTo>
                  <a:lnTo>
                    <a:pt x="962199" y="285242"/>
                  </a:lnTo>
                  <a:cubicBezTo>
                    <a:pt x="951683" y="286556"/>
                    <a:pt x="938538" y="286556"/>
                    <a:pt x="926708" y="286556"/>
                  </a:cubicBezTo>
                  <a:cubicBezTo>
                    <a:pt x="905019" y="286556"/>
                    <a:pt x="908963" y="255009"/>
                    <a:pt x="908963" y="248437"/>
                  </a:cubicBezTo>
                  <a:lnTo>
                    <a:pt x="908963" y="151165"/>
                  </a:lnTo>
                  <a:lnTo>
                    <a:pt x="962856" y="151165"/>
                  </a:lnTo>
                  <a:lnTo>
                    <a:pt x="962856" y="93328"/>
                  </a:lnTo>
                  <a:lnTo>
                    <a:pt x="908963" y="93328"/>
                  </a:lnTo>
                  <a:lnTo>
                    <a:pt x="908963" y="0"/>
                  </a:lnTo>
                  <a:lnTo>
                    <a:pt x="816292" y="120932"/>
                  </a:lnTo>
                  <a:lnTo>
                    <a:pt x="815635" y="260924"/>
                  </a:lnTo>
                  <a:close/>
                  <a:moveTo>
                    <a:pt x="1097591" y="92671"/>
                  </a:moveTo>
                  <a:lnTo>
                    <a:pt x="1006234" y="92671"/>
                  </a:lnTo>
                  <a:lnTo>
                    <a:pt x="1006234" y="337821"/>
                  </a:lnTo>
                  <a:lnTo>
                    <a:pt x="1098905" y="337821"/>
                  </a:lnTo>
                  <a:lnTo>
                    <a:pt x="1098905" y="239235"/>
                  </a:lnTo>
                  <a:cubicBezTo>
                    <a:pt x="1097591" y="192571"/>
                    <a:pt x="1114022" y="163653"/>
                    <a:pt x="1162657" y="162995"/>
                  </a:cubicBezTo>
                  <a:cubicBezTo>
                    <a:pt x="1169230" y="162995"/>
                    <a:pt x="1175145" y="162995"/>
                    <a:pt x="1182374" y="163653"/>
                  </a:cubicBezTo>
                  <a:lnTo>
                    <a:pt x="1182374" y="85441"/>
                  </a:lnTo>
                  <a:cubicBezTo>
                    <a:pt x="1141626" y="84784"/>
                    <a:pt x="1110735" y="97929"/>
                    <a:pt x="1100219" y="138678"/>
                  </a:cubicBezTo>
                  <a:lnTo>
                    <a:pt x="1099562" y="138678"/>
                  </a:lnTo>
                  <a:lnTo>
                    <a:pt x="1097591" y="92671"/>
                  </a:lnTo>
                  <a:close/>
                  <a:moveTo>
                    <a:pt x="1338140" y="85441"/>
                  </a:moveTo>
                  <a:cubicBezTo>
                    <a:pt x="1261243" y="85441"/>
                    <a:pt x="1195519" y="124876"/>
                    <a:pt x="1195519" y="215575"/>
                  </a:cubicBezTo>
                  <a:cubicBezTo>
                    <a:pt x="1195519" y="306274"/>
                    <a:pt x="1261243" y="345708"/>
                    <a:pt x="1338140" y="345708"/>
                  </a:cubicBezTo>
                  <a:cubicBezTo>
                    <a:pt x="1415037" y="345708"/>
                    <a:pt x="1480761" y="306274"/>
                    <a:pt x="1480761" y="215575"/>
                  </a:cubicBezTo>
                  <a:cubicBezTo>
                    <a:pt x="1480761" y="124876"/>
                    <a:pt x="1414380" y="85441"/>
                    <a:pt x="1338140" y="85441"/>
                  </a:cubicBezTo>
                  <a:close/>
                  <a:moveTo>
                    <a:pt x="1290819" y="215575"/>
                  </a:moveTo>
                  <a:cubicBezTo>
                    <a:pt x="1290819" y="180741"/>
                    <a:pt x="1299363" y="139335"/>
                    <a:pt x="1338140" y="139335"/>
                  </a:cubicBezTo>
                  <a:cubicBezTo>
                    <a:pt x="1376917" y="139335"/>
                    <a:pt x="1385461" y="180741"/>
                    <a:pt x="1385461" y="215575"/>
                  </a:cubicBezTo>
                  <a:cubicBezTo>
                    <a:pt x="1385461" y="250408"/>
                    <a:pt x="1376917" y="291814"/>
                    <a:pt x="1338140" y="291814"/>
                  </a:cubicBezTo>
                  <a:cubicBezTo>
                    <a:pt x="1298706" y="291814"/>
                    <a:pt x="1290819" y="250408"/>
                    <a:pt x="1290819" y="215575"/>
                  </a:cubicBezTo>
                  <a:close/>
                  <a:moveTo>
                    <a:pt x="1678590" y="85441"/>
                  </a:moveTo>
                  <a:cubicBezTo>
                    <a:pt x="1647043" y="85441"/>
                    <a:pt x="1622725" y="95300"/>
                    <a:pt x="1601693" y="119618"/>
                  </a:cubicBezTo>
                  <a:lnTo>
                    <a:pt x="1600379" y="92671"/>
                  </a:lnTo>
                  <a:lnTo>
                    <a:pt x="1509023" y="92671"/>
                  </a:lnTo>
                  <a:lnTo>
                    <a:pt x="1509023" y="337821"/>
                  </a:lnTo>
                  <a:lnTo>
                    <a:pt x="1601693" y="337821"/>
                  </a:lnTo>
                  <a:lnTo>
                    <a:pt x="1601693" y="197829"/>
                  </a:lnTo>
                  <a:cubicBezTo>
                    <a:pt x="1601693" y="195200"/>
                    <a:pt x="1595778" y="144593"/>
                    <a:pt x="1641785" y="144593"/>
                  </a:cubicBezTo>
                  <a:cubicBezTo>
                    <a:pt x="1670704" y="144593"/>
                    <a:pt x="1676619" y="170225"/>
                    <a:pt x="1677276" y="194543"/>
                  </a:cubicBezTo>
                  <a:lnTo>
                    <a:pt x="1677276" y="338478"/>
                  </a:lnTo>
                  <a:lnTo>
                    <a:pt x="1769947" y="338478"/>
                  </a:lnTo>
                  <a:lnTo>
                    <a:pt x="1769947" y="174169"/>
                  </a:lnTo>
                  <a:cubicBezTo>
                    <a:pt x="1770604" y="119618"/>
                    <a:pt x="1731170" y="85441"/>
                    <a:pt x="1678590" y="85441"/>
                  </a:cubicBezTo>
                  <a:close/>
                </a:path>
              </a:pathLst>
            </a:custGeom>
            <a:grpFill/>
            <a:ln w="6540" cap="flat">
              <a:noFill/>
              <a:prstDash val="solid"/>
              <a:miter/>
            </a:ln>
          </p:spPr>
          <p:txBody>
            <a:bodyPr rtlCol="0" anchor="ctr"/>
            <a:lstStyle/>
            <a:p>
              <a:endParaRPr lang="en-GB" dirty="0"/>
            </a:p>
          </p:txBody>
        </p:sp>
      </p:grpSp>
      <p:sp>
        <p:nvSpPr>
          <p:cNvPr id="19" name="TextBox 28">
            <a:extLst>
              <a:ext uri="{FF2B5EF4-FFF2-40B4-BE49-F238E27FC236}">
                <a16:creationId xmlns:a16="http://schemas.microsoft.com/office/drawing/2014/main" id="{0F142C4B-50A7-F05E-6BAA-FAF09DC22154}"/>
              </a:ext>
            </a:extLst>
          </p:cNvPr>
          <p:cNvSpPr txBox="1"/>
          <p:nvPr userDrawn="1"/>
        </p:nvSpPr>
        <p:spPr>
          <a:xfrm>
            <a:off x="695325" y="2310804"/>
            <a:ext cx="3497811" cy="492443"/>
          </a:xfrm>
          <a:prstGeom prst="rect">
            <a:avLst/>
          </a:prstGeom>
          <a:noFill/>
        </p:spPr>
        <p:txBody>
          <a:bodyPr wrap="square" lIns="0" tIns="0" rIns="0" bIns="0" rtlCol="0">
            <a:spAutoFit/>
          </a:bodyPr>
          <a:lstStyle/>
          <a:p>
            <a:pPr algn="l"/>
            <a:r>
              <a:rPr lang="en-GB" sz="2000" b="1" dirty="0">
                <a:solidFill>
                  <a:srgbClr val="FFFFFF"/>
                </a:solidFill>
                <a:effectLst/>
                <a:latin typeface="Calibri" panose="020F0502020204030204" pitchFamily="34" charset="0"/>
              </a:rPr>
              <a:t>Explore the Kontron Group</a:t>
            </a:r>
          </a:p>
          <a:p>
            <a:pPr algn="l"/>
            <a:r>
              <a:rPr lang="en-US" sz="1200" dirty="0">
                <a:solidFill>
                  <a:srgbClr val="FFFFFF"/>
                </a:solidFill>
                <a:effectLst/>
                <a:latin typeface="Calibri Light" panose="020F0302020204030204" pitchFamily="34" charset="0"/>
              </a:rPr>
              <a:t>We are a fast-moving multinational technology leader.</a:t>
            </a:r>
            <a:endParaRPr lang="en-GB" sz="1200" dirty="0">
              <a:solidFill>
                <a:srgbClr val="FFFFFF"/>
              </a:solidFill>
              <a:effectLst/>
              <a:latin typeface="Calibri Light" panose="020F0302020204030204" pitchFamily="34" charset="0"/>
            </a:endParaRPr>
          </a:p>
        </p:txBody>
      </p:sp>
      <p:cxnSp>
        <p:nvCxnSpPr>
          <p:cNvPr id="39" name="Gerader Verbinder 38">
            <a:extLst>
              <a:ext uri="{FF2B5EF4-FFF2-40B4-BE49-F238E27FC236}">
                <a16:creationId xmlns:a16="http://schemas.microsoft.com/office/drawing/2014/main" id="{60B78CA5-DDCE-5A6F-D386-E9AEC96D2544}"/>
              </a:ext>
            </a:extLst>
          </p:cNvPr>
          <p:cNvCxnSpPr>
            <a:cxnSpLocks/>
          </p:cNvCxnSpPr>
          <p:nvPr userDrawn="1"/>
        </p:nvCxnSpPr>
        <p:spPr>
          <a:xfrm>
            <a:off x="1511300" y="4666670"/>
            <a:ext cx="68961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extplatzhalter 64">
            <a:extLst>
              <a:ext uri="{FF2B5EF4-FFF2-40B4-BE49-F238E27FC236}">
                <a16:creationId xmlns:a16="http://schemas.microsoft.com/office/drawing/2014/main" id="{F28B3AA1-C7D8-1E31-DE66-B3BD8C452B9C}"/>
              </a:ext>
            </a:extLst>
          </p:cNvPr>
          <p:cNvSpPr>
            <a:spLocks noGrp="1"/>
          </p:cNvSpPr>
          <p:nvPr>
            <p:ph type="body" sz="quarter" idx="11"/>
          </p:nvPr>
        </p:nvSpPr>
        <p:spPr>
          <a:xfrm>
            <a:off x="4033865" y="0"/>
            <a:ext cx="7228840" cy="6858000"/>
          </a:xfrm>
          <a:custGeom>
            <a:avLst/>
            <a:gdLst>
              <a:gd name="connsiteX0" fmla="*/ 1571902 w 7228840"/>
              <a:gd name="connsiteY0" fmla="*/ 0 h 6858000"/>
              <a:gd name="connsiteX1" fmla="*/ 7228840 w 7228840"/>
              <a:gd name="connsiteY1" fmla="*/ 0 h 6858000"/>
              <a:gd name="connsiteX2" fmla="*/ 2519932 w 7228840"/>
              <a:gd name="connsiteY2" fmla="*/ 6858000 h 6858000"/>
              <a:gd name="connsiteX3" fmla="*/ 0 w 7228840"/>
              <a:gd name="connsiteY3" fmla="*/ 6858000 h 6858000"/>
              <a:gd name="connsiteX4" fmla="*/ 2191570 w 7228840"/>
              <a:gd name="connsiteY4" fmla="*/ 3266104 h 6858000"/>
              <a:gd name="connsiteX5" fmla="*/ 734940 w 7228840"/>
              <a:gd name="connsiteY5" fmla="*/ 10844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28840" h="6858000">
                <a:moveTo>
                  <a:pt x="1571902" y="0"/>
                </a:moveTo>
                <a:lnTo>
                  <a:pt x="7228840" y="0"/>
                </a:lnTo>
                <a:lnTo>
                  <a:pt x="2519932" y="6858000"/>
                </a:lnTo>
                <a:lnTo>
                  <a:pt x="0" y="6858000"/>
                </a:lnTo>
                <a:lnTo>
                  <a:pt x="2191570" y="3266104"/>
                </a:lnTo>
                <a:lnTo>
                  <a:pt x="734940" y="1084445"/>
                </a:lnTo>
                <a:close/>
              </a:path>
            </a:pathLst>
          </a:custGeom>
          <a:solidFill>
            <a:schemeClr val="bg1">
              <a:alpha val="10000"/>
            </a:schemeClr>
          </a:solidFill>
        </p:spPr>
        <p:txBody>
          <a:bodyPr wrap="square">
            <a:noAutofit/>
          </a:bodyPr>
          <a:lstStyle>
            <a:lvl1pPr marL="0" indent="0">
              <a:buNone/>
              <a:defRPr>
                <a:solidFill>
                  <a:schemeClr val="tx1">
                    <a:alpha val="0"/>
                  </a:schemeClr>
                </a:solidFill>
              </a:defRPr>
            </a:lvl1pPr>
            <a:lvl2pPr marL="216000" indent="0">
              <a:buNone/>
              <a:defRPr/>
            </a:lvl2pPr>
            <a:lvl3pPr marL="432000" indent="0">
              <a:buNone/>
              <a:defRPr/>
            </a:lvl3pPr>
            <a:lvl4pPr marL="648000" indent="0">
              <a:buNone/>
              <a:defRPr/>
            </a:lvl4pPr>
            <a:lvl5pPr marL="864000" indent="0">
              <a:buNone/>
              <a:defRPr/>
            </a:lvl5pPr>
          </a:lstStyle>
          <a:p>
            <a:pPr lvl="0"/>
            <a:endParaRPr lang="en-US" dirty="0"/>
          </a:p>
        </p:txBody>
      </p:sp>
      <p:pic>
        <p:nvPicPr>
          <p:cNvPr id="4" name="Grafik 3">
            <a:extLst>
              <a:ext uri="{FF2B5EF4-FFF2-40B4-BE49-F238E27FC236}">
                <a16:creationId xmlns:a16="http://schemas.microsoft.com/office/drawing/2014/main" id="{F52EFE36-E54A-7FA8-1B25-A991C8DC3DAE}"/>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95325" y="4315973"/>
            <a:ext cx="561116" cy="701394"/>
          </a:xfrm>
          <a:prstGeom prst="rect">
            <a:avLst/>
          </a:prstGeom>
        </p:spPr>
      </p:pic>
    </p:spTree>
    <p:extLst>
      <p:ext uri="{BB962C8B-B14F-4D97-AF65-F5344CB8AC3E}">
        <p14:creationId xmlns:p14="http://schemas.microsoft.com/office/powerpoint/2010/main" val="40509536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2 contents arrow">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759164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Freihandform: Form 18">
            <a:extLst>
              <a:ext uri="{FF2B5EF4-FFF2-40B4-BE49-F238E27FC236}">
                <a16:creationId xmlns:a16="http://schemas.microsoft.com/office/drawing/2014/main" id="{05FE5497-C7E5-75BB-64B1-57AAF06134BB}"/>
              </a:ext>
            </a:extLst>
          </p:cNvPr>
          <p:cNvSpPr/>
          <p:nvPr userDrawn="1"/>
        </p:nvSpPr>
        <p:spPr>
          <a:xfrm flipH="1">
            <a:off x="1754125" y="0"/>
            <a:ext cx="7876733" cy="6858000"/>
          </a:xfrm>
          <a:custGeom>
            <a:avLst/>
            <a:gdLst>
              <a:gd name="connsiteX0" fmla="*/ 7876733 w 7876733"/>
              <a:gd name="connsiteY0" fmla="*/ 0 h 6858000"/>
              <a:gd name="connsiteX1" fmla="*/ 3352132 w 7876733"/>
              <a:gd name="connsiteY1" fmla="*/ 0 h 6858000"/>
              <a:gd name="connsiteX2" fmla="*/ 0 w 7876733"/>
              <a:gd name="connsiteY2" fmla="*/ 4461366 h 6858000"/>
              <a:gd name="connsiteX3" fmla="*/ 1645601 w 7876733"/>
              <a:gd name="connsiteY3" fmla="*/ 6858000 h 6858000"/>
              <a:gd name="connsiteX4" fmla="*/ 6322952 w 7876733"/>
              <a:gd name="connsiteY4" fmla="*/ 6858000 h 6858000"/>
              <a:gd name="connsiteX5" fmla="*/ 4473258 w 7876733"/>
              <a:gd name="connsiteY5" fmla="*/ 44613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6733" h="6858000">
                <a:moveTo>
                  <a:pt x="7876733" y="0"/>
                </a:moveTo>
                <a:lnTo>
                  <a:pt x="3352132" y="0"/>
                </a:lnTo>
                <a:lnTo>
                  <a:pt x="0" y="4461366"/>
                </a:lnTo>
                <a:lnTo>
                  <a:pt x="1645601" y="6858000"/>
                </a:lnTo>
                <a:lnTo>
                  <a:pt x="6322952" y="6858000"/>
                </a:lnTo>
                <a:lnTo>
                  <a:pt x="4473258" y="4461366"/>
                </a:lnTo>
                <a:close/>
              </a:path>
            </a:pathLst>
          </a:custGeom>
          <a:solidFill>
            <a:schemeClr val="bg2">
              <a:alpha val="45000"/>
            </a:schemeClr>
          </a:solidFill>
          <a:ln w="6540" cap="flat">
            <a:noFill/>
            <a:prstDash val="solid"/>
            <a:miter/>
          </a:ln>
        </p:spPr>
        <p:txBody>
          <a:bodyPr wrap="square" rtlCol="0" anchor="ctr">
            <a:noAutofit/>
          </a:bodyPr>
          <a:lstStyle/>
          <a:p>
            <a:pPr lvl="0"/>
            <a:endParaRPr lang="en-GB" dirty="0"/>
          </a:p>
        </p:txBody>
      </p:sp>
      <p:sp>
        <p:nvSpPr>
          <p:cNvPr id="2" name="Titel 1">
            <a:extLst>
              <a:ext uri="{FF2B5EF4-FFF2-40B4-BE49-F238E27FC236}">
                <a16:creationId xmlns:a16="http://schemas.microsoft.com/office/drawing/2014/main" id="{CDA4FE97-9D3F-4806-826F-04FA53127EE8}"/>
              </a:ext>
            </a:extLst>
          </p:cNvPr>
          <p:cNvSpPr>
            <a:spLocks noGrp="1"/>
          </p:cNvSpPr>
          <p:nvPr>
            <p:ph type="title" hasCustomPrompt="1"/>
          </p:nvPr>
        </p:nvSpPr>
        <p:spPr/>
        <p:txBody>
          <a:bodyPr vert="horz"/>
          <a:lstStyle/>
          <a:p>
            <a:r>
              <a:rPr lang="de-DE" dirty="0"/>
              <a:t>Title, Calibri </a:t>
            </a:r>
            <a:r>
              <a:rPr lang="de-DE" dirty="0" err="1"/>
              <a:t>Bold</a:t>
            </a:r>
            <a:r>
              <a:rPr lang="de-DE" dirty="0"/>
              <a:t>, 32pt</a:t>
            </a:r>
            <a:endParaRPr lang="en-US" dirty="0"/>
          </a:p>
        </p:txBody>
      </p:sp>
      <p:sp>
        <p:nvSpPr>
          <p:cNvPr id="3" name="Inhaltsplatzhalter 2">
            <a:extLst>
              <a:ext uri="{FF2B5EF4-FFF2-40B4-BE49-F238E27FC236}">
                <a16:creationId xmlns:a16="http://schemas.microsoft.com/office/drawing/2014/main" id="{8F6218BB-9612-46C6-A52F-A0032EAFB803}"/>
              </a:ext>
            </a:extLst>
          </p:cNvPr>
          <p:cNvSpPr>
            <a:spLocks noGrp="1"/>
          </p:cNvSpPr>
          <p:nvPr>
            <p:ph idx="1" hasCustomPrompt="1"/>
          </p:nvPr>
        </p:nvSpPr>
        <p:spPr>
          <a:xfrm>
            <a:off x="695325" y="1628775"/>
            <a:ext cx="5184775"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8" name="Textplatzhalter 7">
            <a:extLst>
              <a:ext uri="{FF2B5EF4-FFF2-40B4-BE49-F238E27FC236}">
                <a16:creationId xmlns:a16="http://schemas.microsoft.com/office/drawing/2014/main" id="{42F3C34B-24E5-47A4-6876-9BC98D1537C5}"/>
              </a:ext>
            </a:extLst>
          </p:cNvPr>
          <p:cNvSpPr>
            <a:spLocks noGrp="1"/>
          </p:cNvSpPr>
          <p:nvPr>
            <p:ph type="body" sz="quarter" idx="13" hasCustomPrompt="1"/>
          </p:nvPr>
        </p:nvSpPr>
        <p:spPr>
          <a:xfrm>
            <a:off x="695325" y="815466"/>
            <a:ext cx="8707438" cy="350838"/>
          </a:xfrm>
        </p:spPr>
        <p:txBody>
          <a:bodyPr>
            <a:noAutofit/>
          </a:bodyPr>
          <a:lstStyle>
            <a:lvl1pPr marL="0" indent="0">
              <a:buNone/>
              <a:defRPr sz="2400">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
        <p:nvSpPr>
          <p:cNvPr id="4" name="Inhaltsplatzhalter 2">
            <a:extLst>
              <a:ext uri="{FF2B5EF4-FFF2-40B4-BE49-F238E27FC236}">
                <a16:creationId xmlns:a16="http://schemas.microsoft.com/office/drawing/2014/main" id="{E7EEBF4B-23B4-6B8C-35B0-DF94A24DC996}"/>
              </a:ext>
            </a:extLst>
          </p:cNvPr>
          <p:cNvSpPr>
            <a:spLocks noGrp="1"/>
          </p:cNvSpPr>
          <p:nvPr>
            <p:ph idx="14" hasCustomPrompt="1"/>
          </p:nvPr>
        </p:nvSpPr>
        <p:spPr>
          <a:xfrm>
            <a:off x="6311902" y="1628775"/>
            <a:ext cx="5184775"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7" name="Fußzeilenplatzhalter 6">
            <a:extLst>
              <a:ext uri="{FF2B5EF4-FFF2-40B4-BE49-F238E27FC236}">
                <a16:creationId xmlns:a16="http://schemas.microsoft.com/office/drawing/2014/main" id="{4D592AA7-C146-4851-2F0C-9E05B78B0014}"/>
              </a:ext>
            </a:extLst>
          </p:cNvPr>
          <p:cNvSpPr>
            <a:spLocks noGrp="1"/>
          </p:cNvSpPr>
          <p:nvPr>
            <p:ph type="ftr" sz="quarter" idx="15"/>
          </p:nvPr>
        </p:nvSpPr>
        <p:spPr/>
        <p:txBody>
          <a:bodyPr/>
          <a:lstStyle/>
          <a:p>
            <a:r>
              <a:rPr lang="en-US"/>
              <a:t>Footer</a:t>
            </a:r>
            <a:endParaRPr lang="en-US" dirty="0"/>
          </a:p>
        </p:txBody>
      </p:sp>
    </p:spTree>
    <p:extLst>
      <p:ext uri="{BB962C8B-B14F-4D97-AF65-F5344CB8AC3E}">
        <p14:creationId xmlns:p14="http://schemas.microsoft.com/office/powerpoint/2010/main" val="1363215219"/>
      </p:ext>
    </p:extLst>
  </p:cSld>
  <p:clrMapOvr>
    <a:masterClrMapping/>
  </p:clrMapOvr>
  <p:extLst>
    <p:ext uri="{DCECCB84-F9BA-43D5-87BE-67443E8EF086}">
      <p15:sldGuideLst xmlns:p15="http://schemas.microsoft.com/office/powerpoint/2012/main">
        <p15:guide id="1" pos="3704">
          <p15:clr>
            <a:srgbClr val="FBAE40"/>
          </p15:clr>
        </p15:guide>
        <p15:guide id="2" pos="3840">
          <p15:clr>
            <a:srgbClr val="FBAE40"/>
          </p15:clr>
        </p15:guide>
        <p15:guide id="3" pos="397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3 contents gradient/arrow">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2824681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Freihandform: Form 18">
            <a:extLst>
              <a:ext uri="{FF2B5EF4-FFF2-40B4-BE49-F238E27FC236}">
                <a16:creationId xmlns:a16="http://schemas.microsoft.com/office/drawing/2014/main" id="{05FE5497-C7E5-75BB-64B1-57AAF06134BB}"/>
              </a:ext>
            </a:extLst>
          </p:cNvPr>
          <p:cNvSpPr/>
          <p:nvPr userDrawn="1"/>
        </p:nvSpPr>
        <p:spPr>
          <a:xfrm flipH="1">
            <a:off x="1754125" y="0"/>
            <a:ext cx="7876733" cy="6858000"/>
          </a:xfrm>
          <a:custGeom>
            <a:avLst/>
            <a:gdLst>
              <a:gd name="connsiteX0" fmla="*/ 7876733 w 7876733"/>
              <a:gd name="connsiteY0" fmla="*/ 0 h 6858000"/>
              <a:gd name="connsiteX1" fmla="*/ 3352132 w 7876733"/>
              <a:gd name="connsiteY1" fmla="*/ 0 h 6858000"/>
              <a:gd name="connsiteX2" fmla="*/ 0 w 7876733"/>
              <a:gd name="connsiteY2" fmla="*/ 4461366 h 6858000"/>
              <a:gd name="connsiteX3" fmla="*/ 1645601 w 7876733"/>
              <a:gd name="connsiteY3" fmla="*/ 6858000 h 6858000"/>
              <a:gd name="connsiteX4" fmla="*/ 6322952 w 7876733"/>
              <a:gd name="connsiteY4" fmla="*/ 6858000 h 6858000"/>
              <a:gd name="connsiteX5" fmla="*/ 4473258 w 7876733"/>
              <a:gd name="connsiteY5" fmla="*/ 44613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6733" h="6858000">
                <a:moveTo>
                  <a:pt x="7876733" y="0"/>
                </a:moveTo>
                <a:lnTo>
                  <a:pt x="3352132" y="0"/>
                </a:lnTo>
                <a:lnTo>
                  <a:pt x="0" y="4461366"/>
                </a:lnTo>
                <a:lnTo>
                  <a:pt x="1645601" y="6858000"/>
                </a:lnTo>
                <a:lnTo>
                  <a:pt x="6322952" y="6858000"/>
                </a:lnTo>
                <a:lnTo>
                  <a:pt x="4473258" y="4461366"/>
                </a:lnTo>
                <a:close/>
              </a:path>
            </a:pathLst>
          </a:custGeom>
          <a:solidFill>
            <a:schemeClr val="bg2">
              <a:alpha val="45000"/>
            </a:schemeClr>
          </a:solidFill>
          <a:ln w="6540" cap="flat">
            <a:noFill/>
            <a:prstDash val="solid"/>
            <a:miter/>
          </a:ln>
        </p:spPr>
        <p:txBody>
          <a:bodyPr wrap="square" rtlCol="0" anchor="ctr">
            <a:noAutofit/>
          </a:bodyPr>
          <a:lstStyle/>
          <a:p>
            <a:pPr lvl="0"/>
            <a:endParaRPr lang="en-GB" dirty="0"/>
          </a:p>
        </p:txBody>
      </p:sp>
      <p:sp>
        <p:nvSpPr>
          <p:cNvPr id="14" name="Freihandform: Form 13">
            <a:extLst>
              <a:ext uri="{FF2B5EF4-FFF2-40B4-BE49-F238E27FC236}">
                <a16:creationId xmlns:a16="http://schemas.microsoft.com/office/drawing/2014/main" id="{55F5D3BA-7765-4777-5C46-26EFE8E737BD}"/>
              </a:ext>
            </a:extLst>
          </p:cNvPr>
          <p:cNvSpPr>
            <a:spLocks/>
          </p:cNvSpPr>
          <p:nvPr userDrawn="1"/>
        </p:nvSpPr>
        <p:spPr>
          <a:xfrm>
            <a:off x="1" y="6449104"/>
            <a:ext cx="11221821" cy="408897"/>
          </a:xfrm>
          <a:custGeom>
            <a:avLst/>
            <a:gdLst>
              <a:gd name="connsiteX0" fmla="*/ 0 w 11221821"/>
              <a:gd name="connsiteY0" fmla="*/ 0 h 408897"/>
              <a:gd name="connsiteX1" fmla="*/ 2901161 w 11221821"/>
              <a:gd name="connsiteY1" fmla="*/ 0 h 408897"/>
              <a:gd name="connsiteX2" fmla="*/ 7380716 w 11221821"/>
              <a:gd name="connsiteY2" fmla="*/ 0 h 408897"/>
              <a:gd name="connsiteX3" fmla="*/ 10922202 w 11221821"/>
              <a:gd name="connsiteY3" fmla="*/ 0 h 408897"/>
              <a:gd name="connsiteX4" fmla="*/ 11221821 w 11221821"/>
              <a:gd name="connsiteY4" fmla="*/ 408897 h 408897"/>
              <a:gd name="connsiteX5" fmla="*/ 0 w 11221821"/>
              <a:gd name="connsiteY5" fmla="*/ 408897 h 40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1821" h="408897">
                <a:moveTo>
                  <a:pt x="0" y="0"/>
                </a:moveTo>
                <a:lnTo>
                  <a:pt x="2901161" y="0"/>
                </a:lnTo>
                <a:lnTo>
                  <a:pt x="7380716" y="0"/>
                </a:lnTo>
                <a:lnTo>
                  <a:pt x="10922202" y="0"/>
                </a:lnTo>
                <a:lnTo>
                  <a:pt x="11221821" y="408897"/>
                </a:lnTo>
                <a:lnTo>
                  <a:pt x="0" y="408897"/>
                </a:lnTo>
                <a:close/>
              </a:path>
            </a:pathLst>
          </a:custGeom>
          <a:gradFill>
            <a:gsLst>
              <a:gs pos="45000">
                <a:schemeClr val="accent1"/>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el 1">
            <a:extLst>
              <a:ext uri="{FF2B5EF4-FFF2-40B4-BE49-F238E27FC236}">
                <a16:creationId xmlns:a16="http://schemas.microsoft.com/office/drawing/2014/main" id="{CDA4FE97-9D3F-4806-826F-04FA53127EE8}"/>
              </a:ext>
            </a:extLst>
          </p:cNvPr>
          <p:cNvSpPr>
            <a:spLocks noGrp="1"/>
          </p:cNvSpPr>
          <p:nvPr>
            <p:ph type="title" hasCustomPrompt="1"/>
          </p:nvPr>
        </p:nvSpPr>
        <p:spPr/>
        <p:txBody>
          <a:bodyPr vert="horz"/>
          <a:lstStyle/>
          <a:p>
            <a:r>
              <a:rPr lang="de-DE" dirty="0"/>
              <a:t>Title, Calibri </a:t>
            </a:r>
            <a:r>
              <a:rPr lang="de-DE" dirty="0" err="1"/>
              <a:t>Bold</a:t>
            </a:r>
            <a:r>
              <a:rPr lang="de-DE" dirty="0"/>
              <a:t>, 32pt</a:t>
            </a:r>
            <a:endParaRPr lang="en-US" dirty="0"/>
          </a:p>
        </p:txBody>
      </p:sp>
      <p:sp>
        <p:nvSpPr>
          <p:cNvPr id="3" name="Inhaltsplatzhalter 2">
            <a:extLst>
              <a:ext uri="{FF2B5EF4-FFF2-40B4-BE49-F238E27FC236}">
                <a16:creationId xmlns:a16="http://schemas.microsoft.com/office/drawing/2014/main" id="{8F6218BB-9612-46C6-A52F-A0032EAFB803}"/>
              </a:ext>
            </a:extLst>
          </p:cNvPr>
          <p:cNvSpPr>
            <a:spLocks noGrp="1"/>
          </p:cNvSpPr>
          <p:nvPr>
            <p:ph idx="1" hasCustomPrompt="1"/>
          </p:nvPr>
        </p:nvSpPr>
        <p:spPr>
          <a:xfrm>
            <a:off x="695325" y="1628775"/>
            <a:ext cx="3313113"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5" name="Fußzeilenplatzhalter 4">
            <a:extLst>
              <a:ext uri="{FF2B5EF4-FFF2-40B4-BE49-F238E27FC236}">
                <a16:creationId xmlns:a16="http://schemas.microsoft.com/office/drawing/2014/main" id="{8D6D93A5-EB18-42A3-92C9-BCCDDB54CB05}"/>
              </a:ext>
            </a:extLst>
          </p:cNvPr>
          <p:cNvSpPr>
            <a:spLocks noGrp="1"/>
          </p:cNvSpPr>
          <p:nvPr>
            <p:ph type="ftr" sz="quarter" idx="11"/>
          </p:nvPr>
        </p:nvSpPr>
        <p:spPr/>
        <p:txBody>
          <a:bodyPr/>
          <a:lstStyle>
            <a:lvl1pPr>
              <a:defRPr>
                <a:solidFill>
                  <a:schemeClr val="bg1"/>
                </a:solidFill>
              </a:defRPr>
            </a:lvl1pPr>
          </a:lstStyle>
          <a:p>
            <a:r>
              <a:rPr lang="en-US" dirty="0"/>
              <a:t>Footer</a:t>
            </a:r>
          </a:p>
        </p:txBody>
      </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8" name="Textplatzhalter 7">
            <a:extLst>
              <a:ext uri="{FF2B5EF4-FFF2-40B4-BE49-F238E27FC236}">
                <a16:creationId xmlns:a16="http://schemas.microsoft.com/office/drawing/2014/main" id="{42F3C34B-24E5-47A4-6876-9BC98D1537C5}"/>
              </a:ext>
            </a:extLst>
          </p:cNvPr>
          <p:cNvSpPr>
            <a:spLocks noGrp="1"/>
          </p:cNvSpPr>
          <p:nvPr>
            <p:ph type="body" sz="quarter" idx="13" hasCustomPrompt="1"/>
          </p:nvPr>
        </p:nvSpPr>
        <p:spPr>
          <a:xfrm>
            <a:off x="695325" y="815466"/>
            <a:ext cx="8707438" cy="350838"/>
          </a:xfrm>
        </p:spPr>
        <p:txBody>
          <a:bodyPr>
            <a:noAutofit/>
          </a:bodyPr>
          <a:lstStyle>
            <a:lvl1pPr marL="0" indent="0">
              <a:buNone/>
              <a:defRPr sz="2400">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
        <p:nvSpPr>
          <p:cNvPr id="4" name="Inhaltsplatzhalter 2">
            <a:extLst>
              <a:ext uri="{FF2B5EF4-FFF2-40B4-BE49-F238E27FC236}">
                <a16:creationId xmlns:a16="http://schemas.microsoft.com/office/drawing/2014/main" id="{E7EEBF4B-23B4-6B8C-35B0-DF94A24DC996}"/>
              </a:ext>
            </a:extLst>
          </p:cNvPr>
          <p:cNvSpPr>
            <a:spLocks noGrp="1"/>
          </p:cNvSpPr>
          <p:nvPr>
            <p:ph idx="14" hasCustomPrompt="1"/>
          </p:nvPr>
        </p:nvSpPr>
        <p:spPr>
          <a:xfrm>
            <a:off x="4440238" y="1628775"/>
            <a:ext cx="3313113"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11" name="Inhaltsplatzhalter 2">
            <a:extLst>
              <a:ext uri="{FF2B5EF4-FFF2-40B4-BE49-F238E27FC236}">
                <a16:creationId xmlns:a16="http://schemas.microsoft.com/office/drawing/2014/main" id="{07AB6479-A4FB-DDDC-4B01-261DF7BD7118}"/>
              </a:ext>
            </a:extLst>
          </p:cNvPr>
          <p:cNvSpPr>
            <a:spLocks noGrp="1"/>
          </p:cNvSpPr>
          <p:nvPr>
            <p:ph idx="15" hasCustomPrompt="1"/>
          </p:nvPr>
        </p:nvSpPr>
        <p:spPr>
          <a:xfrm>
            <a:off x="8185151" y="1628775"/>
            <a:ext cx="3313113"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Tree>
    <p:extLst>
      <p:ext uri="{BB962C8B-B14F-4D97-AF65-F5344CB8AC3E}">
        <p14:creationId xmlns:p14="http://schemas.microsoft.com/office/powerpoint/2010/main" val="3872860928"/>
      </p:ext>
    </p:extLst>
  </p:cSld>
  <p:clrMapOvr>
    <a:masterClrMapping/>
  </p:clrMapOvr>
  <p:extLst>
    <p:ext uri="{DCECCB84-F9BA-43D5-87BE-67443E8EF086}">
      <p15:sldGuideLst xmlns:p15="http://schemas.microsoft.com/office/powerpoint/2012/main">
        <p15:guide id="1" pos="2525" userDrawn="1">
          <p15:clr>
            <a:srgbClr val="FBAE40"/>
          </p15:clr>
        </p15:guide>
        <p15:guide id="2" pos="2661" userDrawn="1">
          <p15:clr>
            <a:srgbClr val="FBAE40"/>
          </p15:clr>
        </p15:guide>
        <p15:guide id="3" pos="2797" userDrawn="1">
          <p15:clr>
            <a:srgbClr val="FBAE40"/>
          </p15:clr>
        </p15:guide>
        <p15:guide id="4" pos="5155" userDrawn="1">
          <p15:clr>
            <a:srgbClr val="FBAE40"/>
          </p15:clr>
        </p15:guide>
        <p15:guide id="5" pos="5019" userDrawn="1">
          <p15:clr>
            <a:srgbClr val="FBAE40"/>
          </p15:clr>
        </p15:guide>
        <p15:guide id="6" pos="488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3 contents gradient">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2569686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Freihandform: Form 13">
            <a:extLst>
              <a:ext uri="{FF2B5EF4-FFF2-40B4-BE49-F238E27FC236}">
                <a16:creationId xmlns:a16="http://schemas.microsoft.com/office/drawing/2014/main" id="{55F5D3BA-7765-4777-5C46-26EFE8E737BD}"/>
              </a:ext>
            </a:extLst>
          </p:cNvPr>
          <p:cNvSpPr>
            <a:spLocks/>
          </p:cNvSpPr>
          <p:nvPr userDrawn="1"/>
        </p:nvSpPr>
        <p:spPr>
          <a:xfrm>
            <a:off x="1" y="6449104"/>
            <a:ext cx="11221821" cy="408897"/>
          </a:xfrm>
          <a:custGeom>
            <a:avLst/>
            <a:gdLst>
              <a:gd name="connsiteX0" fmla="*/ 0 w 11221821"/>
              <a:gd name="connsiteY0" fmla="*/ 0 h 408897"/>
              <a:gd name="connsiteX1" fmla="*/ 2901161 w 11221821"/>
              <a:gd name="connsiteY1" fmla="*/ 0 h 408897"/>
              <a:gd name="connsiteX2" fmla="*/ 7380716 w 11221821"/>
              <a:gd name="connsiteY2" fmla="*/ 0 h 408897"/>
              <a:gd name="connsiteX3" fmla="*/ 10922202 w 11221821"/>
              <a:gd name="connsiteY3" fmla="*/ 0 h 408897"/>
              <a:gd name="connsiteX4" fmla="*/ 11221821 w 11221821"/>
              <a:gd name="connsiteY4" fmla="*/ 408897 h 408897"/>
              <a:gd name="connsiteX5" fmla="*/ 0 w 11221821"/>
              <a:gd name="connsiteY5" fmla="*/ 408897 h 40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1821" h="408897">
                <a:moveTo>
                  <a:pt x="0" y="0"/>
                </a:moveTo>
                <a:lnTo>
                  <a:pt x="2901161" y="0"/>
                </a:lnTo>
                <a:lnTo>
                  <a:pt x="7380716" y="0"/>
                </a:lnTo>
                <a:lnTo>
                  <a:pt x="10922202" y="0"/>
                </a:lnTo>
                <a:lnTo>
                  <a:pt x="11221821" y="408897"/>
                </a:lnTo>
                <a:lnTo>
                  <a:pt x="0" y="408897"/>
                </a:lnTo>
                <a:close/>
              </a:path>
            </a:pathLst>
          </a:custGeom>
          <a:gradFill>
            <a:gsLst>
              <a:gs pos="45000">
                <a:schemeClr val="accent1"/>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el 1">
            <a:extLst>
              <a:ext uri="{FF2B5EF4-FFF2-40B4-BE49-F238E27FC236}">
                <a16:creationId xmlns:a16="http://schemas.microsoft.com/office/drawing/2014/main" id="{CDA4FE97-9D3F-4806-826F-04FA53127EE8}"/>
              </a:ext>
            </a:extLst>
          </p:cNvPr>
          <p:cNvSpPr>
            <a:spLocks noGrp="1"/>
          </p:cNvSpPr>
          <p:nvPr>
            <p:ph type="title" hasCustomPrompt="1"/>
          </p:nvPr>
        </p:nvSpPr>
        <p:spPr/>
        <p:txBody>
          <a:bodyPr vert="horz"/>
          <a:lstStyle/>
          <a:p>
            <a:r>
              <a:rPr lang="de-DE" dirty="0"/>
              <a:t>Title, Calibri </a:t>
            </a:r>
            <a:r>
              <a:rPr lang="de-DE" dirty="0" err="1"/>
              <a:t>Bold</a:t>
            </a:r>
            <a:r>
              <a:rPr lang="de-DE" dirty="0"/>
              <a:t>, 32pt</a:t>
            </a:r>
            <a:endParaRPr lang="en-US" dirty="0"/>
          </a:p>
        </p:txBody>
      </p:sp>
      <p:sp>
        <p:nvSpPr>
          <p:cNvPr id="3" name="Inhaltsplatzhalter 2">
            <a:extLst>
              <a:ext uri="{FF2B5EF4-FFF2-40B4-BE49-F238E27FC236}">
                <a16:creationId xmlns:a16="http://schemas.microsoft.com/office/drawing/2014/main" id="{8F6218BB-9612-46C6-A52F-A0032EAFB803}"/>
              </a:ext>
            </a:extLst>
          </p:cNvPr>
          <p:cNvSpPr>
            <a:spLocks noGrp="1"/>
          </p:cNvSpPr>
          <p:nvPr>
            <p:ph idx="1" hasCustomPrompt="1"/>
          </p:nvPr>
        </p:nvSpPr>
        <p:spPr>
          <a:xfrm>
            <a:off x="695325" y="1628775"/>
            <a:ext cx="3313113"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5" name="Fußzeilenplatzhalter 4">
            <a:extLst>
              <a:ext uri="{FF2B5EF4-FFF2-40B4-BE49-F238E27FC236}">
                <a16:creationId xmlns:a16="http://schemas.microsoft.com/office/drawing/2014/main" id="{8D6D93A5-EB18-42A3-92C9-BCCDDB54CB05}"/>
              </a:ext>
            </a:extLst>
          </p:cNvPr>
          <p:cNvSpPr>
            <a:spLocks noGrp="1"/>
          </p:cNvSpPr>
          <p:nvPr>
            <p:ph type="ftr" sz="quarter" idx="11"/>
          </p:nvPr>
        </p:nvSpPr>
        <p:spPr/>
        <p:txBody>
          <a:bodyPr/>
          <a:lstStyle>
            <a:lvl1pPr>
              <a:defRPr>
                <a:solidFill>
                  <a:schemeClr val="bg1"/>
                </a:solidFill>
              </a:defRPr>
            </a:lvl1pPr>
          </a:lstStyle>
          <a:p>
            <a:r>
              <a:rPr lang="en-US" dirty="0"/>
              <a:t>Footer</a:t>
            </a:r>
          </a:p>
        </p:txBody>
      </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8" name="Textplatzhalter 7">
            <a:extLst>
              <a:ext uri="{FF2B5EF4-FFF2-40B4-BE49-F238E27FC236}">
                <a16:creationId xmlns:a16="http://schemas.microsoft.com/office/drawing/2014/main" id="{42F3C34B-24E5-47A4-6876-9BC98D1537C5}"/>
              </a:ext>
            </a:extLst>
          </p:cNvPr>
          <p:cNvSpPr>
            <a:spLocks noGrp="1"/>
          </p:cNvSpPr>
          <p:nvPr>
            <p:ph type="body" sz="quarter" idx="13" hasCustomPrompt="1"/>
          </p:nvPr>
        </p:nvSpPr>
        <p:spPr>
          <a:xfrm>
            <a:off x="695325" y="815466"/>
            <a:ext cx="8707438" cy="350838"/>
          </a:xfrm>
        </p:spPr>
        <p:txBody>
          <a:bodyPr>
            <a:noAutofit/>
          </a:bodyPr>
          <a:lstStyle>
            <a:lvl1pPr marL="0" indent="0">
              <a:buNone/>
              <a:defRPr sz="2400">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
        <p:nvSpPr>
          <p:cNvPr id="4" name="Inhaltsplatzhalter 2">
            <a:extLst>
              <a:ext uri="{FF2B5EF4-FFF2-40B4-BE49-F238E27FC236}">
                <a16:creationId xmlns:a16="http://schemas.microsoft.com/office/drawing/2014/main" id="{E7EEBF4B-23B4-6B8C-35B0-DF94A24DC996}"/>
              </a:ext>
            </a:extLst>
          </p:cNvPr>
          <p:cNvSpPr>
            <a:spLocks noGrp="1"/>
          </p:cNvSpPr>
          <p:nvPr>
            <p:ph idx="14" hasCustomPrompt="1"/>
          </p:nvPr>
        </p:nvSpPr>
        <p:spPr>
          <a:xfrm>
            <a:off x="4440238" y="1628775"/>
            <a:ext cx="3313113"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11" name="Inhaltsplatzhalter 2">
            <a:extLst>
              <a:ext uri="{FF2B5EF4-FFF2-40B4-BE49-F238E27FC236}">
                <a16:creationId xmlns:a16="http://schemas.microsoft.com/office/drawing/2014/main" id="{07AB6479-A4FB-DDDC-4B01-261DF7BD7118}"/>
              </a:ext>
            </a:extLst>
          </p:cNvPr>
          <p:cNvSpPr>
            <a:spLocks noGrp="1"/>
          </p:cNvSpPr>
          <p:nvPr>
            <p:ph idx="15" hasCustomPrompt="1"/>
          </p:nvPr>
        </p:nvSpPr>
        <p:spPr>
          <a:xfrm>
            <a:off x="8185151" y="1628775"/>
            <a:ext cx="3313113"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Tree>
    <p:extLst>
      <p:ext uri="{BB962C8B-B14F-4D97-AF65-F5344CB8AC3E}">
        <p14:creationId xmlns:p14="http://schemas.microsoft.com/office/powerpoint/2010/main" val="70609470"/>
      </p:ext>
    </p:extLst>
  </p:cSld>
  <p:clrMapOvr>
    <a:masterClrMapping/>
  </p:clrMapOvr>
  <p:extLst>
    <p:ext uri="{DCECCB84-F9BA-43D5-87BE-67443E8EF086}">
      <p15:sldGuideLst xmlns:p15="http://schemas.microsoft.com/office/powerpoint/2012/main">
        <p15:guide id="1" pos="2525">
          <p15:clr>
            <a:srgbClr val="FBAE40"/>
          </p15:clr>
        </p15:guide>
        <p15:guide id="2" pos="2661">
          <p15:clr>
            <a:srgbClr val="FBAE40"/>
          </p15:clr>
        </p15:guide>
        <p15:guide id="3" pos="2797">
          <p15:clr>
            <a:srgbClr val="FBAE40"/>
          </p15:clr>
        </p15:guide>
        <p15:guide id="4" pos="5155">
          <p15:clr>
            <a:srgbClr val="FBAE40"/>
          </p15:clr>
        </p15:guide>
        <p15:guide id="5" pos="5019">
          <p15:clr>
            <a:srgbClr val="FBAE40"/>
          </p15:clr>
        </p15:guide>
        <p15:guide id="6" pos="4883">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3 contents arrow">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1025499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Freihandform: Form 18">
            <a:extLst>
              <a:ext uri="{FF2B5EF4-FFF2-40B4-BE49-F238E27FC236}">
                <a16:creationId xmlns:a16="http://schemas.microsoft.com/office/drawing/2014/main" id="{05FE5497-C7E5-75BB-64B1-57AAF06134BB}"/>
              </a:ext>
            </a:extLst>
          </p:cNvPr>
          <p:cNvSpPr/>
          <p:nvPr userDrawn="1"/>
        </p:nvSpPr>
        <p:spPr>
          <a:xfrm flipH="1">
            <a:off x="1754125" y="0"/>
            <a:ext cx="7876733" cy="6858000"/>
          </a:xfrm>
          <a:custGeom>
            <a:avLst/>
            <a:gdLst>
              <a:gd name="connsiteX0" fmla="*/ 7876733 w 7876733"/>
              <a:gd name="connsiteY0" fmla="*/ 0 h 6858000"/>
              <a:gd name="connsiteX1" fmla="*/ 3352132 w 7876733"/>
              <a:gd name="connsiteY1" fmla="*/ 0 h 6858000"/>
              <a:gd name="connsiteX2" fmla="*/ 0 w 7876733"/>
              <a:gd name="connsiteY2" fmla="*/ 4461366 h 6858000"/>
              <a:gd name="connsiteX3" fmla="*/ 1645601 w 7876733"/>
              <a:gd name="connsiteY3" fmla="*/ 6858000 h 6858000"/>
              <a:gd name="connsiteX4" fmla="*/ 6322952 w 7876733"/>
              <a:gd name="connsiteY4" fmla="*/ 6858000 h 6858000"/>
              <a:gd name="connsiteX5" fmla="*/ 4473258 w 7876733"/>
              <a:gd name="connsiteY5" fmla="*/ 44613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6733" h="6858000">
                <a:moveTo>
                  <a:pt x="7876733" y="0"/>
                </a:moveTo>
                <a:lnTo>
                  <a:pt x="3352132" y="0"/>
                </a:lnTo>
                <a:lnTo>
                  <a:pt x="0" y="4461366"/>
                </a:lnTo>
                <a:lnTo>
                  <a:pt x="1645601" y="6858000"/>
                </a:lnTo>
                <a:lnTo>
                  <a:pt x="6322952" y="6858000"/>
                </a:lnTo>
                <a:lnTo>
                  <a:pt x="4473258" y="4461366"/>
                </a:lnTo>
                <a:close/>
              </a:path>
            </a:pathLst>
          </a:custGeom>
          <a:solidFill>
            <a:schemeClr val="bg2">
              <a:alpha val="45000"/>
            </a:schemeClr>
          </a:solidFill>
          <a:ln w="6540" cap="flat">
            <a:noFill/>
            <a:prstDash val="solid"/>
            <a:miter/>
          </a:ln>
        </p:spPr>
        <p:txBody>
          <a:bodyPr wrap="square" rtlCol="0" anchor="ctr">
            <a:noAutofit/>
          </a:bodyPr>
          <a:lstStyle/>
          <a:p>
            <a:pPr lvl="0"/>
            <a:endParaRPr lang="en-GB" dirty="0"/>
          </a:p>
        </p:txBody>
      </p:sp>
      <p:sp>
        <p:nvSpPr>
          <p:cNvPr id="2" name="Titel 1">
            <a:extLst>
              <a:ext uri="{FF2B5EF4-FFF2-40B4-BE49-F238E27FC236}">
                <a16:creationId xmlns:a16="http://schemas.microsoft.com/office/drawing/2014/main" id="{CDA4FE97-9D3F-4806-826F-04FA53127EE8}"/>
              </a:ext>
            </a:extLst>
          </p:cNvPr>
          <p:cNvSpPr>
            <a:spLocks noGrp="1"/>
          </p:cNvSpPr>
          <p:nvPr>
            <p:ph type="title" hasCustomPrompt="1"/>
          </p:nvPr>
        </p:nvSpPr>
        <p:spPr/>
        <p:txBody>
          <a:bodyPr vert="horz"/>
          <a:lstStyle/>
          <a:p>
            <a:r>
              <a:rPr lang="de-DE" dirty="0"/>
              <a:t>Title, Calibri </a:t>
            </a:r>
            <a:r>
              <a:rPr lang="de-DE" dirty="0" err="1"/>
              <a:t>Bold</a:t>
            </a:r>
            <a:r>
              <a:rPr lang="de-DE" dirty="0"/>
              <a:t>, 32pt</a:t>
            </a:r>
            <a:endParaRPr lang="en-US" dirty="0"/>
          </a:p>
        </p:txBody>
      </p:sp>
      <p:sp>
        <p:nvSpPr>
          <p:cNvPr id="3" name="Inhaltsplatzhalter 2">
            <a:extLst>
              <a:ext uri="{FF2B5EF4-FFF2-40B4-BE49-F238E27FC236}">
                <a16:creationId xmlns:a16="http://schemas.microsoft.com/office/drawing/2014/main" id="{8F6218BB-9612-46C6-A52F-A0032EAFB803}"/>
              </a:ext>
            </a:extLst>
          </p:cNvPr>
          <p:cNvSpPr>
            <a:spLocks noGrp="1"/>
          </p:cNvSpPr>
          <p:nvPr>
            <p:ph idx="1" hasCustomPrompt="1"/>
          </p:nvPr>
        </p:nvSpPr>
        <p:spPr>
          <a:xfrm>
            <a:off x="695325" y="1628775"/>
            <a:ext cx="3313113"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8" name="Textplatzhalter 7">
            <a:extLst>
              <a:ext uri="{FF2B5EF4-FFF2-40B4-BE49-F238E27FC236}">
                <a16:creationId xmlns:a16="http://schemas.microsoft.com/office/drawing/2014/main" id="{42F3C34B-24E5-47A4-6876-9BC98D1537C5}"/>
              </a:ext>
            </a:extLst>
          </p:cNvPr>
          <p:cNvSpPr>
            <a:spLocks noGrp="1"/>
          </p:cNvSpPr>
          <p:nvPr>
            <p:ph type="body" sz="quarter" idx="13" hasCustomPrompt="1"/>
          </p:nvPr>
        </p:nvSpPr>
        <p:spPr>
          <a:xfrm>
            <a:off x="695325" y="815466"/>
            <a:ext cx="8707438" cy="350838"/>
          </a:xfrm>
        </p:spPr>
        <p:txBody>
          <a:bodyPr>
            <a:noAutofit/>
          </a:bodyPr>
          <a:lstStyle>
            <a:lvl1pPr marL="0" indent="0">
              <a:buNone/>
              <a:defRPr sz="2400">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
        <p:nvSpPr>
          <p:cNvPr id="4" name="Inhaltsplatzhalter 2">
            <a:extLst>
              <a:ext uri="{FF2B5EF4-FFF2-40B4-BE49-F238E27FC236}">
                <a16:creationId xmlns:a16="http://schemas.microsoft.com/office/drawing/2014/main" id="{E7EEBF4B-23B4-6B8C-35B0-DF94A24DC996}"/>
              </a:ext>
            </a:extLst>
          </p:cNvPr>
          <p:cNvSpPr>
            <a:spLocks noGrp="1"/>
          </p:cNvSpPr>
          <p:nvPr>
            <p:ph idx="14" hasCustomPrompt="1"/>
          </p:nvPr>
        </p:nvSpPr>
        <p:spPr>
          <a:xfrm>
            <a:off x="4440238" y="1628775"/>
            <a:ext cx="3313113"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11" name="Inhaltsplatzhalter 2">
            <a:extLst>
              <a:ext uri="{FF2B5EF4-FFF2-40B4-BE49-F238E27FC236}">
                <a16:creationId xmlns:a16="http://schemas.microsoft.com/office/drawing/2014/main" id="{07AB6479-A4FB-DDDC-4B01-261DF7BD7118}"/>
              </a:ext>
            </a:extLst>
          </p:cNvPr>
          <p:cNvSpPr>
            <a:spLocks noGrp="1"/>
          </p:cNvSpPr>
          <p:nvPr>
            <p:ph idx="15" hasCustomPrompt="1"/>
          </p:nvPr>
        </p:nvSpPr>
        <p:spPr>
          <a:xfrm>
            <a:off x="8185151" y="1628775"/>
            <a:ext cx="3313113"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7" name="Fußzeilenplatzhalter 6">
            <a:extLst>
              <a:ext uri="{FF2B5EF4-FFF2-40B4-BE49-F238E27FC236}">
                <a16:creationId xmlns:a16="http://schemas.microsoft.com/office/drawing/2014/main" id="{7F1FC455-6AF1-22E2-2331-290E6442CB7F}"/>
              </a:ext>
            </a:extLst>
          </p:cNvPr>
          <p:cNvSpPr>
            <a:spLocks noGrp="1"/>
          </p:cNvSpPr>
          <p:nvPr>
            <p:ph type="ftr" sz="quarter" idx="16"/>
          </p:nvPr>
        </p:nvSpPr>
        <p:spPr/>
        <p:txBody>
          <a:bodyPr/>
          <a:lstStyle/>
          <a:p>
            <a:r>
              <a:rPr lang="en-US"/>
              <a:t>Footer</a:t>
            </a:r>
            <a:endParaRPr lang="en-US" dirty="0"/>
          </a:p>
        </p:txBody>
      </p:sp>
    </p:spTree>
    <p:extLst>
      <p:ext uri="{BB962C8B-B14F-4D97-AF65-F5344CB8AC3E}">
        <p14:creationId xmlns:p14="http://schemas.microsoft.com/office/powerpoint/2010/main" val="1671187156"/>
      </p:ext>
    </p:extLst>
  </p:cSld>
  <p:clrMapOvr>
    <a:masterClrMapping/>
  </p:clrMapOvr>
  <p:extLst>
    <p:ext uri="{DCECCB84-F9BA-43D5-87BE-67443E8EF086}">
      <p15:sldGuideLst xmlns:p15="http://schemas.microsoft.com/office/powerpoint/2012/main">
        <p15:guide id="1" pos="2525">
          <p15:clr>
            <a:srgbClr val="FBAE40"/>
          </p15:clr>
        </p15:guide>
        <p15:guide id="2" pos="2661">
          <p15:clr>
            <a:srgbClr val="FBAE40"/>
          </p15:clr>
        </p15:guide>
        <p15:guide id="3" pos="2797">
          <p15:clr>
            <a:srgbClr val="FBAE40"/>
          </p15:clr>
        </p15:guide>
        <p15:guide id="4" pos="5155">
          <p15:clr>
            <a:srgbClr val="FBAE40"/>
          </p15:clr>
        </p15:guide>
        <p15:guide id="5" pos="5019">
          <p15:clr>
            <a:srgbClr val="FBAE40"/>
          </p15:clr>
        </p15:guide>
        <p15:guide id="6" pos="488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3 content gradient/arrow">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964889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Freihandform: Form 18">
            <a:extLst>
              <a:ext uri="{FF2B5EF4-FFF2-40B4-BE49-F238E27FC236}">
                <a16:creationId xmlns:a16="http://schemas.microsoft.com/office/drawing/2014/main" id="{05FE5497-C7E5-75BB-64B1-57AAF06134BB}"/>
              </a:ext>
            </a:extLst>
          </p:cNvPr>
          <p:cNvSpPr/>
          <p:nvPr userDrawn="1"/>
        </p:nvSpPr>
        <p:spPr>
          <a:xfrm flipH="1">
            <a:off x="1754125" y="0"/>
            <a:ext cx="7876733" cy="6858000"/>
          </a:xfrm>
          <a:custGeom>
            <a:avLst/>
            <a:gdLst>
              <a:gd name="connsiteX0" fmla="*/ 7876733 w 7876733"/>
              <a:gd name="connsiteY0" fmla="*/ 0 h 6858000"/>
              <a:gd name="connsiteX1" fmla="*/ 3352132 w 7876733"/>
              <a:gd name="connsiteY1" fmla="*/ 0 h 6858000"/>
              <a:gd name="connsiteX2" fmla="*/ 0 w 7876733"/>
              <a:gd name="connsiteY2" fmla="*/ 4461366 h 6858000"/>
              <a:gd name="connsiteX3" fmla="*/ 1645601 w 7876733"/>
              <a:gd name="connsiteY3" fmla="*/ 6858000 h 6858000"/>
              <a:gd name="connsiteX4" fmla="*/ 6322952 w 7876733"/>
              <a:gd name="connsiteY4" fmla="*/ 6858000 h 6858000"/>
              <a:gd name="connsiteX5" fmla="*/ 4473258 w 7876733"/>
              <a:gd name="connsiteY5" fmla="*/ 44613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6733" h="6858000">
                <a:moveTo>
                  <a:pt x="7876733" y="0"/>
                </a:moveTo>
                <a:lnTo>
                  <a:pt x="3352132" y="0"/>
                </a:lnTo>
                <a:lnTo>
                  <a:pt x="0" y="4461366"/>
                </a:lnTo>
                <a:lnTo>
                  <a:pt x="1645601" y="6858000"/>
                </a:lnTo>
                <a:lnTo>
                  <a:pt x="6322952" y="6858000"/>
                </a:lnTo>
                <a:lnTo>
                  <a:pt x="4473258" y="4461366"/>
                </a:lnTo>
                <a:close/>
              </a:path>
            </a:pathLst>
          </a:custGeom>
          <a:solidFill>
            <a:schemeClr val="bg2">
              <a:alpha val="45000"/>
            </a:schemeClr>
          </a:solidFill>
          <a:ln w="6540" cap="flat">
            <a:noFill/>
            <a:prstDash val="solid"/>
            <a:miter/>
          </a:ln>
        </p:spPr>
        <p:txBody>
          <a:bodyPr wrap="square" rtlCol="0" anchor="ctr">
            <a:noAutofit/>
          </a:bodyPr>
          <a:lstStyle/>
          <a:p>
            <a:pPr lvl="0"/>
            <a:endParaRPr lang="en-GB" dirty="0"/>
          </a:p>
        </p:txBody>
      </p:sp>
      <p:sp>
        <p:nvSpPr>
          <p:cNvPr id="14" name="Freihandform: Form 13">
            <a:extLst>
              <a:ext uri="{FF2B5EF4-FFF2-40B4-BE49-F238E27FC236}">
                <a16:creationId xmlns:a16="http://schemas.microsoft.com/office/drawing/2014/main" id="{55F5D3BA-7765-4777-5C46-26EFE8E737BD}"/>
              </a:ext>
            </a:extLst>
          </p:cNvPr>
          <p:cNvSpPr>
            <a:spLocks/>
          </p:cNvSpPr>
          <p:nvPr userDrawn="1"/>
        </p:nvSpPr>
        <p:spPr>
          <a:xfrm>
            <a:off x="1" y="6449104"/>
            <a:ext cx="11221821" cy="408897"/>
          </a:xfrm>
          <a:custGeom>
            <a:avLst/>
            <a:gdLst>
              <a:gd name="connsiteX0" fmla="*/ 0 w 11221821"/>
              <a:gd name="connsiteY0" fmla="*/ 0 h 408897"/>
              <a:gd name="connsiteX1" fmla="*/ 2901161 w 11221821"/>
              <a:gd name="connsiteY1" fmla="*/ 0 h 408897"/>
              <a:gd name="connsiteX2" fmla="*/ 7380716 w 11221821"/>
              <a:gd name="connsiteY2" fmla="*/ 0 h 408897"/>
              <a:gd name="connsiteX3" fmla="*/ 10922202 w 11221821"/>
              <a:gd name="connsiteY3" fmla="*/ 0 h 408897"/>
              <a:gd name="connsiteX4" fmla="*/ 11221821 w 11221821"/>
              <a:gd name="connsiteY4" fmla="*/ 408897 h 408897"/>
              <a:gd name="connsiteX5" fmla="*/ 0 w 11221821"/>
              <a:gd name="connsiteY5" fmla="*/ 408897 h 40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1821" h="408897">
                <a:moveTo>
                  <a:pt x="0" y="0"/>
                </a:moveTo>
                <a:lnTo>
                  <a:pt x="2901161" y="0"/>
                </a:lnTo>
                <a:lnTo>
                  <a:pt x="7380716" y="0"/>
                </a:lnTo>
                <a:lnTo>
                  <a:pt x="10922202" y="0"/>
                </a:lnTo>
                <a:lnTo>
                  <a:pt x="11221821" y="408897"/>
                </a:lnTo>
                <a:lnTo>
                  <a:pt x="0" y="408897"/>
                </a:lnTo>
                <a:close/>
              </a:path>
            </a:pathLst>
          </a:custGeom>
          <a:gradFill>
            <a:gsLst>
              <a:gs pos="45000">
                <a:schemeClr val="accent1"/>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el 1">
            <a:extLst>
              <a:ext uri="{FF2B5EF4-FFF2-40B4-BE49-F238E27FC236}">
                <a16:creationId xmlns:a16="http://schemas.microsoft.com/office/drawing/2014/main" id="{CDA4FE97-9D3F-4806-826F-04FA53127EE8}"/>
              </a:ext>
            </a:extLst>
          </p:cNvPr>
          <p:cNvSpPr>
            <a:spLocks noGrp="1"/>
          </p:cNvSpPr>
          <p:nvPr>
            <p:ph type="title" hasCustomPrompt="1"/>
          </p:nvPr>
        </p:nvSpPr>
        <p:spPr/>
        <p:txBody>
          <a:bodyPr vert="horz"/>
          <a:lstStyle/>
          <a:p>
            <a:r>
              <a:rPr lang="de-DE" dirty="0"/>
              <a:t>Title, Calibri </a:t>
            </a:r>
            <a:r>
              <a:rPr lang="de-DE" dirty="0" err="1"/>
              <a:t>Bold</a:t>
            </a:r>
            <a:r>
              <a:rPr lang="de-DE" dirty="0"/>
              <a:t>, 32pt</a:t>
            </a:r>
            <a:endParaRPr lang="en-US" dirty="0"/>
          </a:p>
        </p:txBody>
      </p:sp>
      <p:sp>
        <p:nvSpPr>
          <p:cNvPr id="3" name="Inhaltsplatzhalter 2">
            <a:extLst>
              <a:ext uri="{FF2B5EF4-FFF2-40B4-BE49-F238E27FC236}">
                <a16:creationId xmlns:a16="http://schemas.microsoft.com/office/drawing/2014/main" id="{8F6218BB-9612-46C6-A52F-A0032EAFB803}"/>
              </a:ext>
            </a:extLst>
          </p:cNvPr>
          <p:cNvSpPr>
            <a:spLocks noGrp="1"/>
          </p:cNvSpPr>
          <p:nvPr>
            <p:ph idx="1" hasCustomPrompt="1"/>
          </p:nvPr>
        </p:nvSpPr>
        <p:spPr>
          <a:xfrm>
            <a:off x="695325" y="1628775"/>
            <a:ext cx="7056438"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5" name="Fußzeilenplatzhalter 4">
            <a:extLst>
              <a:ext uri="{FF2B5EF4-FFF2-40B4-BE49-F238E27FC236}">
                <a16:creationId xmlns:a16="http://schemas.microsoft.com/office/drawing/2014/main" id="{8D6D93A5-EB18-42A3-92C9-BCCDDB54CB05}"/>
              </a:ext>
            </a:extLst>
          </p:cNvPr>
          <p:cNvSpPr>
            <a:spLocks noGrp="1"/>
          </p:cNvSpPr>
          <p:nvPr>
            <p:ph type="ftr" sz="quarter" idx="11"/>
          </p:nvPr>
        </p:nvSpPr>
        <p:spPr/>
        <p:txBody>
          <a:bodyPr/>
          <a:lstStyle>
            <a:lvl1pPr>
              <a:defRPr>
                <a:solidFill>
                  <a:schemeClr val="bg1"/>
                </a:solidFill>
              </a:defRPr>
            </a:lvl1pPr>
          </a:lstStyle>
          <a:p>
            <a:r>
              <a:rPr lang="en-US" dirty="0"/>
              <a:t>Footer</a:t>
            </a:r>
          </a:p>
        </p:txBody>
      </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8" name="Textplatzhalter 7">
            <a:extLst>
              <a:ext uri="{FF2B5EF4-FFF2-40B4-BE49-F238E27FC236}">
                <a16:creationId xmlns:a16="http://schemas.microsoft.com/office/drawing/2014/main" id="{42F3C34B-24E5-47A4-6876-9BC98D1537C5}"/>
              </a:ext>
            </a:extLst>
          </p:cNvPr>
          <p:cNvSpPr>
            <a:spLocks noGrp="1"/>
          </p:cNvSpPr>
          <p:nvPr>
            <p:ph type="body" sz="quarter" idx="13" hasCustomPrompt="1"/>
          </p:nvPr>
        </p:nvSpPr>
        <p:spPr>
          <a:xfrm>
            <a:off x="695325" y="815466"/>
            <a:ext cx="8707438" cy="350838"/>
          </a:xfrm>
        </p:spPr>
        <p:txBody>
          <a:bodyPr>
            <a:noAutofit/>
          </a:bodyPr>
          <a:lstStyle>
            <a:lvl1pPr marL="0" indent="0">
              <a:buNone/>
              <a:defRPr sz="2400">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
        <p:nvSpPr>
          <p:cNvPr id="11" name="Inhaltsplatzhalter 2">
            <a:extLst>
              <a:ext uri="{FF2B5EF4-FFF2-40B4-BE49-F238E27FC236}">
                <a16:creationId xmlns:a16="http://schemas.microsoft.com/office/drawing/2014/main" id="{07AB6479-A4FB-DDDC-4B01-261DF7BD7118}"/>
              </a:ext>
            </a:extLst>
          </p:cNvPr>
          <p:cNvSpPr>
            <a:spLocks noGrp="1"/>
          </p:cNvSpPr>
          <p:nvPr>
            <p:ph idx="15" hasCustomPrompt="1"/>
          </p:nvPr>
        </p:nvSpPr>
        <p:spPr>
          <a:xfrm>
            <a:off x="8185151" y="1628775"/>
            <a:ext cx="3313113"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Tree>
    <p:extLst>
      <p:ext uri="{BB962C8B-B14F-4D97-AF65-F5344CB8AC3E}">
        <p14:creationId xmlns:p14="http://schemas.microsoft.com/office/powerpoint/2010/main" val="9119725"/>
      </p:ext>
    </p:extLst>
  </p:cSld>
  <p:clrMapOvr>
    <a:masterClrMapping/>
  </p:clrMapOvr>
  <p:extLst>
    <p:ext uri="{DCECCB84-F9BA-43D5-87BE-67443E8EF086}">
      <p15:sldGuideLst xmlns:p15="http://schemas.microsoft.com/office/powerpoint/2012/main">
        <p15:guide id="4" pos="5155">
          <p15:clr>
            <a:srgbClr val="FBAE40"/>
          </p15:clr>
        </p15:guide>
        <p15:guide id="5" pos="5019">
          <p15:clr>
            <a:srgbClr val="FBAE40"/>
          </p15:clr>
        </p15:guide>
        <p15:guide id="6" pos="4883">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3 content gradient">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2073654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Freihandform: Form 13">
            <a:extLst>
              <a:ext uri="{FF2B5EF4-FFF2-40B4-BE49-F238E27FC236}">
                <a16:creationId xmlns:a16="http://schemas.microsoft.com/office/drawing/2014/main" id="{55F5D3BA-7765-4777-5C46-26EFE8E737BD}"/>
              </a:ext>
            </a:extLst>
          </p:cNvPr>
          <p:cNvSpPr>
            <a:spLocks/>
          </p:cNvSpPr>
          <p:nvPr userDrawn="1"/>
        </p:nvSpPr>
        <p:spPr>
          <a:xfrm>
            <a:off x="1" y="6449104"/>
            <a:ext cx="11221821" cy="408897"/>
          </a:xfrm>
          <a:custGeom>
            <a:avLst/>
            <a:gdLst>
              <a:gd name="connsiteX0" fmla="*/ 0 w 11221821"/>
              <a:gd name="connsiteY0" fmla="*/ 0 h 408897"/>
              <a:gd name="connsiteX1" fmla="*/ 2901161 w 11221821"/>
              <a:gd name="connsiteY1" fmla="*/ 0 h 408897"/>
              <a:gd name="connsiteX2" fmla="*/ 7380716 w 11221821"/>
              <a:gd name="connsiteY2" fmla="*/ 0 h 408897"/>
              <a:gd name="connsiteX3" fmla="*/ 10922202 w 11221821"/>
              <a:gd name="connsiteY3" fmla="*/ 0 h 408897"/>
              <a:gd name="connsiteX4" fmla="*/ 11221821 w 11221821"/>
              <a:gd name="connsiteY4" fmla="*/ 408897 h 408897"/>
              <a:gd name="connsiteX5" fmla="*/ 0 w 11221821"/>
              <a:gd name="connsiteY5" fmla="*/ 408897 h 40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1821" h="408897">
                <a:moveTo>
                  <a:pt x="0" y="0"/>
                </a:moveTo>
                <a:lnTo>
                  <a:pt x="2901161" y="0"/>
                </a:lnTo>
                <a:lnTo>
                  <a:pt x="7380716" y="0"/>
                </a:lnTo>
                <a:lnTo>
                  <a:pt x="10922202" y="0"/>
                </a:lnTo>
                <a:lnTo>
                  <a:pt x="11221821" y="408897"/>
                </a:lnTo>
                <a:lnTo>
                  <a:pt x="0" y="408897"/>
                </a:lnTo>
                <a:close/>
              </a:path>
            </a:pathLst>
          </a:custGeom>
          <a:gradFill>
            <a:gsLst>
              <a:gs pos="45000">
                <a:schemeClr val="accent1"/>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el 1">
            <a:extLst>
              <a:ext uri="{FF2B5EF4-FFF2-40B4-BE49-F238E27FC236}">
                <a16:creationId xmlns:a16="http://schemas.microsoft.com/office/drawing/2014/main" id="{CDA4FE97-9D3F-4806-826F-04FA53127EE8}"/>
              </a:ext>
            </a:extLst>
          </p:cNvPr>
          <p:cNvSpPr>
            <a:spLocks noGrp="1"/>
          </p:cNvSpPr>
          <p:nvPr>
            <p:ph type="title" hasCustomPrompt="1"/>
          </p:nvPr>
        </p:nvSpPr>
        <p:spPr/>
        <p:txBody>
          <a:bodyPr vert="horz"/>
          <a:lstStyle/>
          <a:p>
            <a:r>
              <a:rPr lang="de-DE" dirty="0"/>
              <a:t>Title, Calibri </a:t>
            </a:r>
            <a:r>
              <a:rPr lang="de-DE" dirty="0" err="1"/>
              <a:t>Bold</a:t>
            </a:r>
            <a:r>
              <a:rPr lang="de-DE" dirty="0"/>
              <a:t>, 32pt</a:t>
            </a:r>
            <a:endParaRPr lang="en-US" dirty="0"/>
          </a:p>
        </p:txBody>
      </p:sp>
      <p:sp>
        <p:nvSpPr>
          <p:cNvPr id="3" name="Inhaltsplatzhalter 2">
            <a:extLst>
              <a:ext uri="{FF2B5EF4-FFF2-40B4-BE49-F238E27FC236}">
                <a16:creationId xmlns:a16="http://schemas.microsoft.com/office/drawing/2014/main" id="{8F6218BB-9612-46C6-A52F-A0032EAFB803}"/>
              </a:ext>
            </a:extLst>
          </p:cNvPr>
          <p:cNvSpPr>
            <a:spLocks noGrp="1"/>
          </p:cNvSpPr>
          <p:nvPr>
            <p:ph idx="1" hasCustomPrompt="1"/>
          </p:nvPr>
        </p:nvSpPr>
        <p:spPr>
          <a:xfrm>
            <a:off x="695325" y="1628775"/>
            <a:ext cx="7056438"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5" name="Fußzeilenplatzhalter 4">
            <a:extLst>
              <a:ext uri="{FF2B5EF4-FFF2-40B4-BE49-F238E27FC236}">
                <a16:creationId xmlns:a16="http://schemas.microsoft.com/office/drawing/2014/main" id="{8D6D93A5-EB18-42A3-92C9-BCCDDB54CB05}"/>
              </a:ext>
            </a:extLst>
          </p:cNvPr>
          <p:cNvSpPr>
            <a:spLocks noGrp="1"/>
          </p:cNvSpPr>
          <p:nvPr>
            <p:ph type="ftr" sz="quarter" idx="11"/>
          </p:nvPr>
        </p:nvSpPr>
        <p:spPr/>
        <p:txBody>
          <a:bodyPr/>
          <a:lstStyle>
            <a:lvl1pPr>
              <a:defRPr>
                <a:solidFill>
                  <a:schemeClr val="bg1"/>
                </a:solidFill>
              </a:defRPr>
            </a:lvl1pPr>
          </a:lstStyle>
          <a:p>
            <a:r>
              <a:rPr lang="en-US" dirty="0"/>
              <a:t>Footer</a:t>
            </a:r>
          </a:p>
        </p:txBody>
      </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8" name="Textplatzhalter 7">
            <a:extLst>
              <a:ext uri="{FF2B5EF4-FFF2-40B4-BE49-F238E27FC236}">
                <a16:creationId xmlns:a16="http://schemas.microsoft.com/office/drawing/2014/main" id="{42F3C34B-24E5-47A4-6876-9BC98D1537C5}"/>
              </a:ext>
            </a:extLst>
          </p:cNvPr>
          <p:cNvSpPr>
            <a:spLocks noGrp="1"/>
          </p:cNvSpPr>
          <p:nvPr>
            <p:ph type="body" sz="quarter" idx="13" hasCustomPrompt="1"/>
          </p:nvPr>
        </p:nvSpPr>
        <p:spPr>
          <a:xfrm>
            <a:off x="695325" y="815466"/>
            <a:ext cx="8707438" cy="350838"/>
          </a:xfrm>
        </p:spPr>
        <p:txBody>
          <a:bodyPr>
            <a:noAutofit/>
          </a:bodyPr>
          <a:lstStyle>
            <a:lvl1pPr marL="0" indent="0">
              <a:buNone/>
              <a:defRPr sz="2400">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
        <p:nvSpPr>
          <p:cNvPr id="11" name="Inhaltsplatzhalter 2">
            <a:extLst>
              <a:ext uri="{FF2B5EF4-FFF2-40B4-BE49-F238E27FC236}">
                <a16:creationId xmlns:a16="http://schemas.microsoft.com/office/drawing/2014/main" id="{07AB6479-A4FB-DDDC-4B01-261DF7BD7118}"/>
              </a:ext>
            </a:extLst>
          </p:cNvPr>
          <p:cNvSpPr>
            <a:spLocks noGrp="1"/>
          </p:cNvSpPr>
          <p:nvPr>
            <p:ph idx="15" hasCustomPrompt="1"/>
          </p:nvPr>
        </p:nvSpPr>
        <p:spPr>
          <a:xfrm>
            <a:off x="8185151" y="1628775"/>
            <a:ext cx="3313113"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Tree>
    <p:extLst>
      <p:ext uri="{BB962C8B-B14F-4D97-AF65-F5344CB8AC3E}">
        <p14:creationId xmlns:p14="http://schemas.microsoft.com/office/powerpoint/2010/main" val="2724517838"/>
      </p:ext>
    </p:extLst>
  </p:cSld>
  <p:clrMapOvr>
    <a:masterClrMapping/>
  </p:clrMapOvr>
  <p:extLst>
    <p:ext uri="{DCECCB84-F9BA-43D5-87BE-67443E8EF086}">
      <p15:sldGuideLst xmlns:p15="http://schemas.microsoft.com/office/powerpoint/2012/main">
        <p15:guide id="4" pos="5155">
          <p15:clr>
            <a:srgbClr val="FBAE40"/>
          </p15:clr>
        </p15:guide>
        <p15:guide id="5" pos="5019">
          <p15:clr>
            <a:srgbClr val="FBAE40"/>
          </p15:clr>
        </p15:guide>
        <p15:guide id="6" pos="488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3 content arrow">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241983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Freihandform: Form 18">
            <a:extLst>
              <a:ext uri="{FF2B5EF4-FFF2-40B4-BE49-F238E27FC236}">
                <a16:creationId xmlns:a16="http://schemas.microsoft.com/office/drawing/2014/main" id="{05FE5497-C7E5-75BB-64B1-57AAF06134BB}"/>
              </a:ext>
            </a:extLst>
          </p:cNvPr>
          <p:cNvSpPr/>
          <p:nvPr userDrawn="1"/>
        </p:nvSpPr>
        <p:spPr>
          <a:xfrm flipH="1">
            <a:off x="1754125" y="0"/>
            <a:ext cx="7876733" cy="6858000"/>
          </a:xfrm>
          <a:custGeom>
            <a:avLst/>
            <a:gdLst>
              <a:gd name="connsiteX0" fmla="*/ 7876733 w 7876733"/>
              <a:gd name="connsiteY0" fmla="*/ 0 h 6858000"/>
              <a:gd name="connsiteX1" fmla="*/ 3352132 w 7876733"/>
              <a:gd name="connsiteY1" fmla="*/ 0 h 6858000"/>
              <a:gd name="connsiteX2" fmla="*/ 0 w 7876733"/>
              <a:gd name="connsiteY2" fmla="*/ 4461366 h 6858000"/>
              <a:gd name="connsiteX3" fmla="*/ 1645601 w 7876733"/>
              <a:gd name="connsiteY3" fmla="*/ 6858000 h 6858000"/>
              <a:gd name="connsiteX4" fmla="*/ 6322952 w 7876733"/>
              <a:gd name="connsiteY4" fmla="*/ 6858000 h 6858000"/>
              <a:gd name="connsiteX5" fmla="*/ 4473258 w 7876733"/>
              <a:gd name="connsiteY5" fmla="*/ 44613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6733" h="6858000">
                <a:moveTo>
                  <a:pt x="7876733" y="0"/>
                </a:moveTo>
                <a:lnTo>
                  <a:pt x="3352132" y="0"/>
                </a:lnTo>
                <a:lnTo>
                  <a:pt x="0" y="4461366"/>
                </a:lnTo>
                <a:lnTo>
                  <a:pt x="1645601" y="6858000"/>
                </a:lnTo>
                <a:lnTo>
                  <a:pt x="6322952" y="6858000"/>
                </a:lnTo>
                <a:lnTo>
                  <a:pt x="4473258" y="4461366"/>
                </a:lnTo>
                <a:close/>
              </a:path>
            </a:pathLst>
          </a:custGeom>
          <a:solidFill>
            <a:schemeClr val="bg2">
              <a:alpha val="45000"/>
            </a:schemeClr>
          </a:solidFill>
          <a:ln w="6540" cap="flat">
            <a:noFill/>
            <a:prstDash val="solid"/>
            <a:miter/>
          </a:ln>
        </p:spPr>
        <p:txBody>
          <a:bodyPr wrap="square" rtlCol="0" anchor="ctr">
            <a:noAutofit/>
          </a:bodyPr>
          <a:lstStyle/>
          <a:p>
            <a:pPr lvl="0"/>
            <a:endParaRPr lang="en-GB" dirty="0"/>
          </a:p>
        </p:txBody>
      </p:sp>
      <p:sp>
        <p:nvSpPr>
          <p:cNvPr id="2" name="Titel 1">
            <a:extLst>
              <a:ext uri="{FF2B5EF4-FFF2-40B4-BE49-F238E27FC236}">
                <a16:creationId xmlns:a16="http://schemas.microsoft.com/office/drawing/2014/main" id="{CDA4FE97-9D3F-4806-826F-04FA53127EE8}"/>
              </a:ext>
            </a:extLst>
          </p:cNvPr>
          <p:cNvSpPr>
            <a:spLocks noGrp="1"/>
          </p:cNvSpPr>
          <p:nvPr>
            <p:ph type="title" hasCustomPrompt="1"/>
          </p:nvPr>
        </p:nvSpPr>
        <p:spPr/>
        <p:txBody>
          <a:bodyPr vert="horz"/>
          <a:lstStyle/>
          <a:p>
            <a:r>
              <a:rPr lang="de-DE" dirty="0"/>
              <a:t>Title, Calibri </a:t>
            </a:r>
            <a:r>
              <a:rPr lang="de-DE" dirty="0" err="1"/>
              <a:t>Bold</a:t>
            </a:r>
            <a:r>
              <a:rPr lang="de-DE" dirty="0"/>
              <a:t>, 32pt</a:t>
            </a:r>
            <a:endParaRPr lang="en-US" dirty="0"/>
          </a:p>
        </p:txBody>
      </p:sp>
      <p:sp>
        <p:nvSpPr>
          <p:cNvPr id="3" name="Inhaltsplatzhalter 2">
            <a:extLst>
              <a:ext uri="{FF2B5EF4-FFF2-40B4-BE49-F238E27FC236}">
                <a16:creationId xmlns:a16="http://schemas.microsoft.com/office/drawing/2014/main" id="{8F6218BB-9612-46C6-A52F-A0032EAFB803}"/>
              </a:ext>
            </a:extLst>
          </p:cNvPr>
          <p:cNvSpPr>
            <a:spLocks noGrp="1"/>
          </p:cNvSpPr>
          <p:nvPr>
            <p:ph idx="1" hasCustomPrompt="1"/>
          </p:nvPr>
        </p:nvSpPr>
        <p:spPr>
          <a:xfrm>
            <a:off x="695325" y="1628775"/>
            <a:ext cx="7056438"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8" name="Textplatzhalter 7">
            <a:extLst>
              <a:ext uri="{FF2B5EF4-FFF2-40B4-BE49-F238E27FC236}">
                <a16:creationId xmlns:a16="http://schemas.microsoft.com/office/drawing/2014/main" id="{42F3C34B-24E5-47A4-6876-9BC98D1537C5}"/>
              </a:ext>
            </a:extLst>
          </p:cNvPr>
          <p:cNvSpPr>
            <a:spLocks noGrp="1"/>
          </p:cNvSpPr>
          <p:nvPr>
            <p:ph type="body" sz="quarter" idx="13" hasCustomPrompt="1"/>
          </p:nvPr>
        </p:nvSpPr>
        <p:spPr>
          <a:xfrm>
            <a:off x="695325" y="815466"/>
            <a:ext cx="8707438" cy="350838"/>
          </a:xfrm>
        </p:spPr>
        <p:txBody>
          <a:bodyPr>
            <a:noAutofit/>
          </a:bodyPr>
          <a:lstStyle>
            <a:lvl1pPr marL="0" indent="0">
              <a:buNone/>
              <a:defRPr sz="2400">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
        <p:nvSpPr>
          <p:cNvPr id="11" name="Inhaltsplatzhalter 2">
            <a:extLst>
              <a:ext uri="{FF2B5EF4-FFF2-40B4-BE49-F238E27FC236}">
                <a16:creationId xmlns:a16="http://schemas.microsoft.com/office/drawing/2014/main" id="{07AB6479-A4FB-DDDC-4B01-261DF7BD7118}"/>
              </a:ext>
            </a:extLst>
          </p:cNvPr>
          <p:cNvSpPr>
            <a:spLocks noGrp="1"/>
          </p:cNvSpPr>
          <p:nvPr>
            <p:ph idx="15" hasCustomPrompt="1"/>
          </p:nvPr>
        </p:nvSpPr>
        <p:spPr>
          <a:xfrm>
            <a:off x="8185151" y="1628775"/>
            <a:ext cx="3313113"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4" name="Fußzeilenplatzhalter 3">
            <a:extLst>
              <a:ext uri="{FF2B5EF4-FFF2-40B4-BE49-F238E27FC236}">
                <a16:creationId xmlns:a16="http://schemas.microsoft.com/office/drawing/2014/main" id="{A315E053-B686-3337-B61D-CDCB43BAE4AA}"/>
              </a:ext>
            </a:extLst>
          </p:cNvPr>
          <p:cNvSpPr>
            <a:spLocks noGrp="1"/>
          </p:cNvSpPr>
          <p:nvPr>
            <p:ph type="ftr" sz="quarter" idx="16"/>
          </p:nvPr>
        </p:nvSpPr>
        <p:spPr/>
        <p:txBody>
          <a:bodyPr/>
          <a:lstStyle/>
          <a:p>
            <a:r>
              <a:rPr lang="en-US"/>
              <a:t>Footer</a:t>
            </a:r>
            <a:endParaRPr lang="en-US" dirty="0"/>
          </a:p>
        </p:txBody>
      </p:sp>
    </p:spTree>
    <p:extLst>
      <p:ext uri="{BB962C8B-B14F-4D97-AF65-F5344CB8AC3E}">
        <p14:creationId xmlns:p14="http://schemas.microsoft.com/office/powerpoint/2010/main" val="2644930722"/>
      </p:ext>
    </p:extLst>
  </p:cSld>
  <p:clrMapOvr>
    <a:masterClrMapping/>
  </p:clrMapOvr>
  <p:extLst>
    <p:ext uri="{DCECCB84-F9BA-43D5-87BE-67443E8EF086}">
      <p15:sldGuideLst xmlns:p15="http://schemas.microsoft.com/office/powerpoint/2012/main">
        <p15:guide id="4" pos="5155">
          <p15:clr>
            <a:srgbClr val="FBAE40"/>
          </p15:clr>
        </p15:guide>
        <p15:guide id="5" pos="5019">
          <p15:clr>
            <a:srgbClr val="FBAE40"/>
          </p15:clr>
        </p15:guide>
        <p15:guide id="6" pos="488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3 content gradient/arrow">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4224096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Freihandform: Form 19">
            <a:extLst>
              <a:ext uri="{FF2B5EF4-FFF2-40B4-BE49-F238E27FC236}">
                <a16:creationId xmlns:a16="http://schemas.microsoft.com/office/drawing/2014/main" id="{8169F121-95D4-94D5-6BA3-EB351DD0EBC7}"/>
              </a:ext>
            </a:extLst>
          </p:cNvPr>
          <p:cNvSpPr/>
          <p:nvPr userDrawn="1"/>
        </p:nvSpPr>
        <p:spPr>
          <a:xfrm flipH="1">
            <a:off x="3033482" y="1"/>
            <a:ext cx="9158518" cy="6857999"/>
          </a:xfrm>
          <a:custGeom>
            <a:avLst/>
            <a:gdLst>
              <a:gd name="connsiteX0" fmla="*/ 5451032 w 9158518"/>
              <a:gd name="connsiteY0" fmla="*/ 0 h 6857999"/>
              <a:gd name="connsiteX1" fmla="*/ 0 w 9158518"/>
              <a:gd name="connsiteY1" fmla="*/ 0 h 6857999"/>
              <a:gd name="connsiteX2" fmla="*/ 0 w 9158518"/>
              <a:gd name="connsiteY2" fmla="*/ 4613876 h 6857999"/>
              <a:gd name="connsiteX3" fmla="*/ 1540882 w 9158518"/>
              <a:gd name="connsiteY3" fmla="*/ 6857999 h 6857999"/>
              <a:gd name="connsiteX4" fmla="*/ 9158518 w 9158518"/>
              <a:gd name="connsiteY4" fmla="*/ 6857999 h 6857999"/>
              <a:gd name="connsiteX5" fmla="*/ 4662917 w 9158518"/>
              <a:gd name="connsiteY5" fmla="*/ 1033083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58518" h="6857999">
                <a:moveTo>
                  <a:pt x="5451032" y="0"/>
                </a:moveTo>
                <a:lnTo>
                  <a:pt x="0" y="0"/>
                </a:lnTo>
                <a:lnTo>
                  <a:pt x="0" y="4613876"/>
                </a:lnTo>
                <a:lnTo>
                  <a:pt x="1540882" y="6857999"/>
                </a:lnTo>
                <a:lnTo>
                  <a:pt x="9158518" y="6857999"/>
                </a:lnTo>
                <a:lnTo>
                  <a:pt x="4662917" y="1033083"/>
                </a:lnTo>
                <a:close/>
              </a:path>
            </a:pathLst>
          </a:custGeom>
          <a:solidFill>
            <a:schemeClr val="bg2">
              <a:alpha val="45000"/>
            </a:schemeClr>
          </a:solidFill>
          <a:ln w="6540" cap="flat">
            <a:noFill/>
            <a:prstDash val="solid"/>
            <a:miter/>
          </a:ln>
        </p:spPr>
        <p:txBody>
          <a:bodyPr wrap="square" rtlCol="0" anchor="ctr">
            <a:noAutofit/>
          </a:bodyPr>
          <a:lstStyle/>
          <a:p>
            <a:pPr lvl="0"/>
            <a:endParaRPr lang="en-GB" dirty="0"/>
          </a:p>
        </p:txBody>
      </p:sp>
      <p:sp>
        <p:nvSpPr>
          <p:cNvPr id="14" name="Freihandform: Form 13">
            <a:extLst>
              <a:ext uri="{FF2B5EF4-FFF2-40B4-BE49-F238E27FC236}">
                <a16:creationId xmlns:a16="http://schemas.microsoft.com/office/drawing/2014/main" id="{55F5D3BA-7765-4777-5C46-26EFE8E737BD}"/>
              </a:ext>
            </a:extLst>
          </p:cNvPr>
          <p:cNvSpPr>
            <a:spLocks/>
          </p:cNvSpPr>
          <p:nvPr userDrawn="1"/>
        </p:nvSpPr>
        <p:spPr>
          <a:xfrm>
            <a:off x="1" y="6449104"/>
            <a:ext cx="11221821" cy="408897"/>
          </a:xfrm>
          <a:custGeom>
            <a:avLst/>
            <a:gdLst>
              <a:gd name="connsiteX0" fmla="*/ 0 w 11221821"/>
              <a:gd name="connsiteY0" fmla="*/ 0 h 408897"/>
              <a:gd name="connsiteX1" fmla="*/ 2901161 w 11221821"/>
              <a:gd name="connsiteY1" fmla="*/ 0 h 408897"/>
              <a:gd name="connsiteX2" fmla="*/ 7380716 w 11221821"/>
              <a:gd name="connsiteY2" fmla="*/ 0 h 408897"/>
              <a:gd name="connsiteX3" fmla="*/ 10922202 w 11221821"/>
              <a:gd name="connsiteY3" fmla="*/ 0 h 408897"/>
              <a:gd name="connsiteX4" fmla="*/ 11221821 w 11221821"/>
              <a:gd name="connsiteY4" fmla="*/ 408897 h 408897"/>
              <a:gd name="connsiteX5" fmla="*/ 0 w 11221821"/>
              <a:gd name="connsiteY5" fmla="*/ 408897 h 40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1821" h="408897">
                <a:moveTo>
                  <a:pt x="0" y="0"/>
                </a:moveTo>
                <a:lnTo>
                  <a:pt x="2901161" y="0"/>
                </a:lnTo>
                <a:lnTo>
                  <a:pt x="7380716" y="0"/>
                </a:lnTo>
                <a:lnTo>
                  <a:pt x="10922202" y="0"/>
                </a:lnTo>
                <a:lnTo>
                  <a:pt x="11221821" y="408897"/>
                </a:lnTo>
                <a:lnTo>
                  <a:pt x="0" y="408897"/>
                </a:lnTo>
                <a:close/>
              </a:path>
            </a:pathLst>
          </a:custGeom>
          <a:gradFill>
            <a:gsLst>
              <a:gs pos="45000">
                <a:schemeClr val="accent1"/>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el 1">
            <a:extLst>
              <a:ext uri="{FF2B5EF4-FFF2-40B4-BE49-F238E27FC236}">
                <a16:creationId xmlns:a16="http://schemas.microsoft.com/office/drawing/2014/main" id="{CDA4FE97-9D3F-4806-826F-04FA53127EE8}"/>
              </a:ext>
            </a:extLst>
          </p:cNvPr>
          <p:cNvSpPr>
            <a:spLocks noGrp="1"/>
          </p:cNvSpPr>
          <p:nvPr>
            <p:ph type="title" hasCustomPrompt="1"/>
          </p:nvPr>
        </p:nvSpPr>
        <p:spPr/>
        <p:txBody>
          <a:bodyPr vert="horz"/>
          <a:lstStyle/>
          <a:p>
            <a:r>
              <a:rPr lang="de-DE" dirty="0"/>
              <a:t>Title, Calibri </a:t>
            </a:r>
            <a:r>
              <a:rPr lang="de-DE" dirty="0" err="1"/>
              <a:t>Bold</a:t>
            </a:r>
            <a:r>
              <a:rPr lang="de-DE" dirty="0"/>
              <a:t>, 32pt</a:t>
            </a:r>
            <a:endParaRPr lang="en-US" dirty="0"/>
          </a:p>
        </p:txBody>
      </p:sp>
      <p:sp>
        <p:nvSpPr>
          <p:cNvPr id="3" name="Inhaltsplatzhalter 2">
            <a:extLst>
              <a:ext uri="{FF2B5EF4-FFF2-40B4-BE49-F238E27FC236}">
                <a16:creationId xmlns:a16="http://schemas.microsoft.com/office/drawing/2014/main" id="{8F6218BB-9612-46C6-A52F-A0032EAFB803}"/>
              </a:ext>
            </a:extLst>
          </p:cNvPr>
          <p:cNvSpPr>
            <a:spLocks noGrp="1"/>
          </p:cNvSpPr>
          <p:nvPr>
            <p:ph idx="1" hasCustomPrompt="1"/>
          </p:nvPr>
        </p:nvSpPr>
        <p:spPr>
          <a:xfrm>
            <a:off x="695325" y="1628775"/>
            <a:ext cx="3313113"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5" name="Fußzeilenplatzhalter 4">
            <a:extLst>
              <a:ext uri="{FF2B5EF4-FFF2-40B4-BE49-F238E27FC236}">
                <a16:creationId xmlns:a16="http://schemas.microsoft.com/office/drawing/2014/main" id="{8D6D93A5-EB18-42A3-92C9-BCCDDB54CB05}"/>
              </a:ext>
            </a:extLst>
          </p:cNvPr>
          <p:cNvSpPr>
            <a:spLocks noGrp="1"/>
          </p:cNvSpPr>
          <p:nvPr>
            <p:ph type="ftr" sz="quarter" idx="11"/>
          </p:nvPr>
        </p:nvSpPr>
        <p:spPr/>
        <p:txBody>
          <a:bodyPr/>
          <a:lstStyle>
            <a:lvl1pPr>
              <a:defRPr>
                <a:solidFill>
                  <a:schemeClr val="bg1"/>
                </a:solidFill>
              </a:defRPr>
            </a:lvl1pPr>
          </a:lstStyle>
          <a:p>
            <a:r>
              <a:rPr lang="en-US" dirty="0"/>
              <a:t>Footer</a:t>
            </a:r>
          </a:p>
        </p:txBody>
      </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8" name="Textplatzhalter 7">
            <a:extLst>
              <a:ext uri="{FF2B5EF4-FFF2-40B4-BE49-F238E27FC236}">
                <a16:creationId xmlns:a16="http://schemas.microsoft.com/office/drawing/2014/main" id="{42F3C34B-24E5-47A4-6876-9BC98D1537C5}"/>
              </a:ext>
            </a:extLst>
          </p:cNvPr>
          <p:cNvSpPr>
            <a:spLocks noGrp="1"/>
          </p:cNvSpPr>
          <p:nvPr>
            <p:ph type="body" sz="quarter" idx="13" hasCustomPrompt="1"/>
          </p:nvPr>
        </p:nvSpPr>
        <p:spPr>
          <a:xfrm>
            <a:off x="695325" y="815466"/>
            <a:ext cx="8707438" cy="350838"/>
          </a:xfrm>
        </p:spPr>
        <p:txBody>
          <a:bodyPr>
            <a:noAutofit/>
          </a:bodyPr>
          <a:lstStyle>
            <a:lvl1pPr marL="0" indent="0">
              <a:buNone/>
              <a:defRPr sz="2400">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
        <p:nvSpPr>
          <p:cNvPr id="4" name="Inhaltsplatzhalter 2">
            <a:extLst>
              <a:ext uri="{FF2B5EF4-FFF2-40B4-BE49-F238E27FC236}">
                <a16:creationId xmlns:a16="http://schemas.microsoft.com/office/drawing/2014/main" id="{E7EEBF4B-23B4-6B8C-35B0-DF94A24DC996}"/>
              </a:ext>
            </a:extLst>
          </p:cNvPr>
          <p:cNvSpPr>
            <a:spLocks noGrp="1"/>
          </p:cNvSpPr>
          <p:nvPr>
            <p:ph idx="14" hasCustomPrompt="1"/>
          </p:nvPr>
        </p:nvSpPr>
        <p:spPr>
          <a:xfrm>
            <a:off x="4440238" y="1628775"/>
            <a:ext cx="7054055"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grpSp>
        <p:nvGrpSpPr>
          <p:cNvPr id="21" name="Gruppieren 20">
            <a:extLst>
              <a:ext uri="{FF2B5EF4-FFF2-40B4-BE49-F238E27FC236}">
                <a16:creationId xmlns:a16="http://schemas.microsoft.com/office/drawing/2014/main" id="{9D253E7B-5CDE-2D9F-FF5E-5EC1D8E5610B}"/>
              </a:ext>
            </a:extLst>
          </p:cNvPr>
          <p:cNvGrpSpPr/>
          <p:nvPr userDrawn="1"/>
        </p:nvGrpSpPr>
        <p:grpSpPr>
          <a:xfrm>
            <a:off x="9938597" y="441325"/>
            <a:ext cx="1558078" cy="295275"/>
            <a:chOff x="9938597" y="441325"/>
            <a:chExt cx="1558078" cy="295275"/>
          </a:xfrm>
        </p:grpSpPr>
        <p:sp>
          <p:nvSpPr>
            <p:cNvPr id="22" name="Freeform: Shape 10">
              <a:extLst>
                <a:ext uri="{FF2B5EF4-FFF2-40B4-BE49-F238E27FC236}">
                  <a16:creationId xmlns:a16="http://schemas.microsoft.com/office/drawing/2014/main" id="{C2DEDC9F-1BFD-5343-85A0-C248D5C89272}"/>
                </a:ext>
              </a:extLst>
            </p:cNvPr>
            <p:cNvSpPr/>
            <p:nvPr/>
          </p:nvSpPr>
          <p:spPr>
            <a:xfrm>
              <a:off x="9938597" y="441325"/>
              <a:ext cx="77518" cy="289100"/>
            </a:xfrm>
            <a:custGeom>
              <a:avLst/>
              <a:gdLst>
                <a:gd name="connsiteX0" fmla="*/ 92671 w 92670"/>
                <a:gd name="connsiteY0" fmla="*/ 0 h 338478"/>
                <a:gd name="connsiteX1" fmla="*/ 0 w 92670"/>
                <a:gd name="connsiteY1" fmla="*/ 0 h 338478"/>
                <a:gd name="connsiteX2" fmla="*/ 0 w 92670"/>
                <a:gd name="connsiteY2" fmla="*/ 338478 h 338478"/>
                <a:gd name="connsiteX3" fmla="*/ 92671 w 92670"/>
                <a:gd name="connsiteY3" fmla="*/ 217546 h 338478"/>
              </a:gdLst>
              <a:ahLst/>
              <a:cxnLst>
                <a:cxn ang="0">
                  <a:pos x="connsiteX0" y="connsiteY0"/>
                </a:cxn>
                <a:cxn ang="0">
                  <a:pos x="connsiteX1" y="connsiteY1"/>
                </a:cxn>
                <a:cxn ang="0">
                  <a:pos x="connsiteX2" y="connsiteY2"/>
                </a:cxn>
                <a:cxn ang="0">
                  <a:pos x="connsiteX3" y="connsiteY3"/>
                </a:cxn>
              </a:cxnLst>
              <a:rect l="l" t="t" r="r" b="b"/>
              <a:pathLst>
                <a:path w="92670" h="338478">
                  <a:moveTo>
                    <a:pt x="92671" y="0"/>
                  </a:moveTo>
                  <a:lnTo>
                    <a:pt x="0" y="0"/>
                  </a:lnTo>
                  <a:lnTo>
                    <a:pt x="0" y="338478"/>
                  </a:lnTo>
                  <a:lnTo>
                    <a:pt x="92671" y="217546"/>
                  </a:lnTo>
                  <a:close/>
                </a:path>
              </a:pathLst>
            </a:custGeom>
            <a:solidFill>
              <a:schemeClr val="accent3"/>
            </a:solidFill>
            <a:ln w="6540" cap="flat">
              <a:noFill/>
              <a:prstDash val="solid"/>
              <a:miter/>
            </a:ln>
          </p:spPr>
          <p:txBody>
            <a:bodyPr rtlCol="0" anchor="ctr"/>
            <a:lstStyle/>
            <a:p>
              <a:endParaRPr lang="en-GB"/>
            </a:p>
          </p:txBody>
        </p:sp>
        <p:sp>
          <p:nvSpPr>
            <p:cNvPr id="23" name="Freeform: Shape 11">
              <a:extLst>
                <a:ext uri="{FF2B5EF4-FFF2-40B4-BE49-F238E27FC236}">
                  <a16:creationId xmlns:a16="http://schemas.microsoft.com/office/drawing/2014/main" id="{272BC39D-CB69-31CF-8B75-FF3B60CEA1D1}"/>
                </a:ext>
              </a:extLst>
            </p:cNvPr>
            <p:cNvSpPr/>
            <p:nvPr/>
          </p:nvSpPr>
          <p:spPr>
            <a:xfrm>
              <a:off x="10016115" y="441325"/>
              <a:ext cx="1480560" cy="295275"/>
            </a:xfrm>
            <a:custGeom>
              <a:avLst/>
              <a:gdLst>
                <a:gd name="connsiteX0" fmla="*/ 196515 w 1769954"/>
                <a:gd name="connsiteY0" fmla="*/ 92671 h 345708"/>
                <a:gd name="connsiteX1" fmla="*/ 99243 w 1769954"/>
                <a:gd name="connsiteY1" fmla="*/ 217546 h 345708"/>
                <a:gd name="connsiteX2" fmla="*/ 194543 w 1769954"/>
                <a:gd name="connsiteY2" fmla="*/ 338478 h 345708"/>
                <a:gd name="connsiteX3" fmla="*/ 84784 w 1769954"/>
                <a:gd name="connsiteY3" fmla="*/ 338478 h 345708"/>
                <a:gd name="connsiteX4" fmla="*/ 0 w 1769954"/>
                <a:gd name="connsiteY4" fmla="*/ 217546 h 345708"/>
                <a:gd name="connsiteX5" fmla="*/ 95300 w 1769954"/>
                <a:gd name="connsiteY5" fmla="*/ 93328 h 345708"/>
                <a:gd name="connsiteX6" fmla="*/ 196515 w 1769954"/>
                <a:gd name="connsiteY6" fmla="*/ 92671 h 345708"/>
                <a:gd name="connsiteX7" fmla="*/ 338478 w 1769954"/>
                <a:gd name="connsiteY7" fmla="*/ 85441 h 345708"/>
                <a:gd name="connsiteX8" fmla="*/ 195857 w 1769954"/>
                <a:gd name="connsiteY8" fmla="*/ 215575 h 345708"/>
                <a:gd name="connsiteX9" fmla="*/ 338478 w 1769954"/>
                <a:gd name="connsiteY9" fmla="*/ 345708 h 345708"/>
                <a:gd name="connsiteX10" fmla="*/ 481100 w 1769954"/>
                <a:gd name="connsiteY10" fmla="*/ 215575 h 345708"/>
                <a:gd name="connsiteX11" fmla="*/ 338478 w 1769954"/>
                <a:gd name="connsiteY11" fmla="*/ 85441 h 345708"/>
                <a:gd name="connsiteX12" fmla="*/ 291157 w 1769954"/>
                <a:gd name="connsiteY12" fmla="*/ 215575 h 345708"/>
                <a:gd name="connsiteX13" fmla="*/ 338478 w 1769954"/>
                <a:gd name="connsiteY13" fmla="*/ 139335 h 345708"/>
                <a:gd name="connsiteX14" fmla="*/ 385800 w 1769954"/>
                <a:gd name="connsiteY14" fmla="*/ 215575 h 345708"/>
                <a:gd name="connsiteX15" fmla="*/ 338478 w 1769954"/>
                <a:gd name="connsiteY15" fmla="*/ 291814 h 345708"/>
                <a:gd name="connsiteX16" fmla="*/ 291157 w 1769954"/>
                <a:gd name="connsiteY16" fmla="*/ 215575 h 345708"/>
                <a:gd name="connsiteX17" fmla="*/ 683529 w 1769954"/>
                <a:gd name="connsiteY17" fmla="*/ 85441 h 345708"/>
                <a:gd name="connsiteX18" fmla="*/ 606632 w 1769954"/>
                <a:gd name="connsiteY18" fmla="*/ 119618 h 345708"/>
                <a:gd name="connsiteX19" fmla="*/ 605318 w 1769954"/>
                <a:gd name="connsiteY19" fmla="*/ 92671 h 345708"/>
                <a:gd name="connsiteX20" fmla="*/ 513962 w 1769954"/>
                <a:gd name="connsiteY20" fmla="*/ 92671 h 345708"/>
                <a:gd name="connsiteX21" fmla="*/ 513962 w 1769954"/>
                <a:gd name="connsiteY21" fmla="*/ 337821 h 345708"/>
                <a:gd name="connsiteX22" fmla="*/ 606632 w 1769954"/>
                <a:gd name="connsiteY22" fmla="*/ 337821 h 345708"/>
                <a:gd name="connsiteX23" fmla="*/ 606632 w 1769954"/>
                <a:gd name="connsiteY23" fmla="*/ 197172 h 345708"/>
                <a:gd name="connsiteX24" fmla="*/ 646724 w 1769954"/>
                <a:gd name="connsiteY24" fmla="*/ 143935 h 345708"/>
                <a:gd name="connsiteX25" fmla="*/ 682215 w 1769954"/>
                <a:gd name="connsiteY25" fmla="*/ 193886 h 345708"/>
                <a:gd name="connsiteX26" fmla="*/ 682215 w 1769954"/>
                <a:gd name="connsiteY26" fmla="*/ 337821 h 345708"/>
                <a:gd name="connsiteX27" fmla="*/ 774886 w 1769954"/>
                <a:gd name="connsiteY27" fmla="*/ 337821 h 345708"/>
                <a:gd name="connsiteX28" fmla="*/ 774886 w 1769954"/>
                <a:gd name="connsiteY28" fmla="*/ 173511 h 345708"/>
                <a:gd name="connsiteX29" fmla="*/ 683529 w 1769954"/>
                <a:gd name="connsiteY29" fmla="*/ 85441 h 345708"/>
                <a:gd name="connsiteX30" fmla="*/ 815635 w 1769954"/>
                <a:gd name="connsiteY30" fmla="*/ 260924 h 345708"/>
                <a:gd name="connsiteX31" fmla="*/ 912249 w 1769954"/>
                <a:gd name="connsiteY31" fmla="*/ 345051 h 345708"/>
                <a:gd name="connsiteX32" fmla="*/ 962199 w 1769954"/>
                <a:gd name="connsiteY32" fmla="*/ 340450 h 345708"/>
                <a:gd name="connsiteX33" fmla="*/ 962199 w 1769954"/>
                <a:gd name="connsiteY33" fmla="*/ 285242 h 345708"/>
                <a:gd name="connsiteX34" fmla="*/ 926708 w 1769954"/>
                <a:gd name="connsiteY34" fmla="*/ 286556 h 345708"/>
                <a:gd name="connsiteX35" fmla="*/ 908963 w 1769954"/>
                <a:gd name="connsiteY35" fmla="*/ 248437 h 345708"/>
                <a:gd name="connsiteX36" fmla="*/ 908963 w 1769954"/>
                <a:gd name="connsiteY36" fmla="*/ 151165 h 345708"/>
                <a:gd name="connsiteX37" fmla="*/ 962856 w 1769954"/>
                <a:gd name="connsiteY37" fmla="*/ 151165 h 345708"/>
                <a:gd name="connsiteX38" fmla="*/ 962856 w 1769954"/>
                <a:gd name="connsiteY38" fmla="*/ 93328 h 345708"/>
                <a:gd name="connsiteX39" fmla="*/ 908963 w 1769954"/>
                <a:gd name="connsiteY39" fmla="*/ 93328 h 345708"/>
                <a:gd name="connsiteX40" fmla="*/ 908963 w 1769954"/>
                <a:gd name="connsiteY40" fmla="*/ 0 h 345708"/>
                <a:gd name="connsiteX41" fmla="*/ 816292 w 1769954"/>
                <a:gd name="connsiteY41" fmla="*/ 120932 h 345708"/>
                <a:gd name="connsiteX42" fmla="*/ 815635 w 1769954"/>
                <a:gd name="connsiteY42" fmla="*/ 260924 h 345708"/>
                <a:gd name="connsiteX43" fmla="*/ 1097591 w 1769954"/>
                <a:gd name="connsiteY43" fmla="*/ 92671 h 345708"/>
                <a:gd name="connsiteX44" fmla="*/ 1006234 w 1769954"/>
                <a:gd name="connsiteY44" fmla="*/ 92671 h 345708"/>
                <a:gd name="connsiteX45" fmla="*/ 1006234 w 1769954"/>
                <a:gd name="connsiteY45" fmla="*/ 337821 h 345708"/>
                <a:gd name="connsiteX46" fmla="*/ 1098905 w 1769954"/>
                <a:gd name="connsiteY46" fmla="*/ 337821 h 345708"/>
                <a:gd name="connsiteX47" fmla="*/ 1098905 w 1769954"/>
                <a:gd name="connsiteY47" fmla="*/ 239235 h 345708"/>
                <a:gd name="connsiteX48" fmla="*/ 1162657 w 1769954"/>
                <a:gd name="connsiteY48" fmla="*/ 162995 h 345708"/>
                <a:gd name="connsiteX49" fmla="*/ 1182374 w 1769954"/>
                <a:gd name="connsiteY49" fmla="*/ 163653 h 345708"/>
                <a:gd name="connsiteX50" fmla="*/ 1182374 w 1769954"/>
                <a:gd name="connsiteY50" fmla="*/ 85441 h 345708"/>
                <a:gd name="connsiteX51" fmla="*/ 1100219 w 1769954"/>
                <a:gd name="connsiteY51" fmla="*/ 138678 h 345708"/>
                <a:gd name="connsiteX52" fmla="*/ 1099562 w 1769954"/>
                <a:gd name="connsiteY52" fmla="*/ 138678 h 345708"/>
                <a:gd name="connsiteX53" fmla="*/ 1097591 w 1769954"/>
                <a:gd name="connsiteY53" fmla="*/ 92671 h 345708"/>
                <a:gd name="connsiteX54" fmla="*/ 1338140 w 1769954"/>
                <a:gd name="connsiteY54" fmla="*/ 85441 h 345708"/>
                <a:gd name="connsiteX55" fmla="*/ 1195519 w 1769954"/>
                <a:gd name="connsiteY55" fmla="*/ 215575 h 345708"/>
                <a:gd name="connsiteX56" fmla="*/ 1338140 w 1769954"/>
                <a:gd name="connsiteY56" fmla="*/ 345708 h 345708"/>
                <a:gd name="connsiteX57" fmla="*/ 1480761 w 1769954"/>
                <a:gd name="connsiteY57" fmla="*/ 215575 h 345708"/>
                <a:gd name="connsiteX58" fmla="*/ 1338140 w 1769954"/>
                <a:gd name="connsiteY58" fmla="*/ 85441 h 345708"/>
                <a:gd name="connsiteX59" fmla="*/ 1290819 w 1769954"/>
                <a:gd name="connsiteY59" fmla="*/ 215575 h 345708"/>
                <a:gd name="connsiteX60" fmla="*/ 1338140 w 1769954"/>
                <a:gd name="connsiteY60" fmla="*/ 139335 h 345708"/>
                <a:gd name="connsiteX61" fmla="*/ 1385461 w 1769954"/>
                <a:gd name="connsiteY61" fmla="*/ 215575 h 345708"/>
                <a:gd name="connsiteX62" fmla="*/ 1338140 w 1769954"/>
                <a:gd name="connsiteY62" fmla="*/ 291814 h 345708"/>
                <a:gd name="connsiteX63" fmla="*/ 1290819 w 1769954"/>
                <a:gd name="connsiteY63" fmla="*/ 215575 h 345708"/>
                <a:gd name="connsiteX64" fmla="*/ 1678590 w 1769954"/>
                <a:gd name="connsiteY64" fmla="*/ 85441 h 345708"/>
                <a:gd name="connsiteX65" fmla="*/ 1601693 w 1769954"/>
                <a:gd name="connsiteY65" fmla="*/ 119618 h 345708"/>
                <a:gd name="connsiteX66" fmla="*/ 1600379 w 1769954"/>
                <a:gd name="connsiteY66" fmla="*/ 92671 h 345708"/>
                <a:gd name="connsiteX67" fmla="*/ 1509023 w 1769954"/>
                <a:gd name="connsiteY67" fmla="*/ 92671 h 345708"/>
                <a:gd name="connsiteX68" fmla="*/ 1509023 w 1769954"/>
                <a:gd name="connsiteY68" fmla="*/ 337821 h 345708"/>
                <a:gd name="connsiteX69" fmla="*/ 1601693 w 1769954"/>
                <a:gd name="connsiteY69" fmla="*/ 337821 h 345708"/>
                <a:gd name="connsiteX70" fmla="*/ 1601693 w 1769954"/>
                <a:gd name="connsiteY70" fmla="*/ 197829 h 345708"/>
                <a:gd name="connsiteX71" fmla="*/ 1641785 w 1769954"/>
                <a:gd name="connsiteY71" fmla="*/ 144593 h 345708"/>
                <a:gd name="connsiteX72" fmla="*/ 1677276 w 1769954"/>
                <a:gd name="connsiteY72" fmla="*/ 194543 h 345708"/>
                <a:gd name="connsiteX73" fmla="*/ 1677276 w 1769954"/>
                <a:gd name="connsiteY73" fmla="*/ 338478 h 345708"/>
                <a:gd name="connsiteX74" fmla="*/ 1769947 w 1769954"/>
                <a:gd name="connsiteY74" fmla="*/ 338478 h 345708"/>
                <a:gd name="connsiteX75" fmla="*/ 1769947 w 1769954"/>
                <a:gd name="connsiteY75" fmla="*/ 174169 h 345708"/>
                <a:gd name="connsiteX76" fmla="*/ 1678590 w 1769954"/>
                <a:gd name="connsiteY76" fmla="*/ 85441 h 34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69954" h="345708">
                  <a:moveTo>
                    <a:pt x="196515" y="92671"/>
                  </a:moveTo>
                  <a:lnTo>
                    <a:pt x="99243" y="217546"/>
                  </a:lnTo>
                  <a:lnTo>
                    <a:pt x="194543" y="338478"/>
                  </a:lnTo>
                  <a:lnTo>
                    <a:pt x="84784" y="338478"/>
                  </a:lnTo>
                  <a:lnTo>
                    <a:pt x="0" y="217546"/>
                  </a:lnTo>
                  <a:lnTo>
                    <a:pt x="95300" y="93328"/>
                  </a:lnTo>
                  <a:lnTo>
                    <a:pt x="196515" y="92671"/>
                  </a:lnTo>
                  <a:close/>
                  <a:moveTo>
                    <a:pt x="338478" y="85441"/>
                  </a:moveTo>
                  <a:cubicBezTo>
                    <a:pt x="261581" y="85441"/>
                    <a:pt x="195857" y="124876"/>
                    <a:pt x="195857" y="215575"/>
                  </a:cubicBezTo>
                  <a:cubicBezTo>
                    <a:pt x="195857" y="306274"/>
                    <a:pt x="261581" y="345708"/>
                    <a:pt x="338478" y="345708"/>
                  </a:cubicBezTo>
                  <a:cubicBezTo>
                    <a:pt x="415376" y="345708"/>
                    <a:pt x="481100" y="306274"/>
                    <a:pt x="481100" y="215575"/>
                  </a:cubicBezTo>
                  <a:cubicBezTo>
                    <a:pt x="481757" y="125533"/>
                    <a:pt x="415376" y="85441"/>
                    <a:pt x="338478" y="85441"/>
                  </a:cubicBezTo>
                  <a:close/>
                  <a:moveTo>
                    <a:pt x="291157" y="215575"/>
                  </a:moveTo>
                  <a:cubicBezTo>
                    <a:pt x="291157" y="180741"/>
                    <a:pt x="299701" y="139335"/>
                    <a:pt x="338478" y="139335"/>
                  </a:cubicBezTo>
                  <a:cubicBezTo>
                    <a:pt x="377256" y="139335"/>
                    <a:pt x="385800" y="180741"/>
                    <a:pt x="385800" y="215575"/>
                  </a:cubicBezTo>
                  <a:cubicBezTo>
                    <a:pt x="385800" y="250408"/>
                    <a:pt x="377256" y="291814"/>
                    <a:pt x="338478" y="291814"/>
                  </a:cubicBezTo>
                  <a:cubicBezTo>
                    <a:pt x="299701" y="291814"/>
                    <a:pt x="291157" y="250408"/>
                    <a:pt x="291157" y="215575"/>
                  </a:cubicBezTo>
                  <a:close/>
                  <a:moveTo>
                    <a:pt x="683529" y="85441"/>
                  </a:moveTo>
                  <a:cubicBezTo>
                    <a:pt x="651982" y="85441"/>
                    <a:pt x="627664" y="95300"/>
                    <a:pt x="606632" y="119618"/>
                  </a:cubicBezTo>
                  <a:lnTo>
                    <a:pt x="605318" y="92671"/>
                  </a:lnTo>
                  <a:lnTo>
                    <a:pt x="513962" y="92671"/>
                  </a:lnTo>
                  <a:lnTo>
                    <a:pt x="513962" y="337821"/>
                  </a:lnTo>
                  <a:lnTo>
                    <a:pt x="606632" y="337821"/>
                  </a:lnTo>
                  <a:lnTo>
                    <a:pt x="606632" y="197172"/>
                  </a:lnTo>
                  <a:cubicBezTo>
                    <a:pt x="606632" y="194543"/>
                    <a:pt x="600717" y="143935"/>
                    <a:pt x="646724" y="143935"/>
                  </a:cubicBezTo>
                  <a:cubicBezTo>
                    <a:pt x="675643" y="143935"/>
                    <a:pt x="681558" y="169568"/>
                    <a:pt x="682215" y="193886"/>
                  </a:cubicBezTo>
                  <a:lnTo>
                    <a:pt x="682215" y="337821"/>
                  </a:lnTo>
                  <a:lnTo>
                    <a:pt x="774886" y="337821"/>
                  </a:lnTo>
                  <a:lnTo>
                    <a:pt x="774886" y="173511"/>
                  </a:lnTo>
                  <a:cubicBezTo>
                    <a:pt x="774886" y="119618"/>
                    <a:pt x="736109" y="85441"/>
                    <a:pt x="683529" y="85441"/>
                  </a:cubicBezTo>
                  <a:close/>
                  <a:moveTo>
                    <a:pt x="815635" y="260924"/>
                  </a:moveTo>
                  <a:cubicBezTo>
                    <a:pt x="811034" y="336507"/>
                    <a:pt x="849154" y="345051"/>
                    <a:pt x="912249" y="345051"/>
                  </a:cubicBezTo>
                  <a:cubicBezTo>
                    <a:pt x="926051" y="345051"/>
                    <a:pt x="941167" y="344394"/>
                    <a:pt x="962199" y="340450"/>
                  </a:cubicBezTo>
                  <a:lnTo>
                    <a:pt x="962199" y="285242"/>
                  </a:lnTo>
                  <a:cubicBezTo>
                    <a:pt x="951683" y="286556"/>
                    <a:pt x="938538" y="286556"/>
                    <a:pt x="926708" y="286556"/>
                  </a:cubicBezTo>
                  <a:cubicBezTo>
                    <a:pt x="905019" y="286556"/>
                    <a:pt x="908963" y="255009"/>
                    <a:pt x="908963" y="248437"/>
                  </a:cubicBezTo>
                  <a:lnTo>
                    <a:pt x="908963" y="151165"/>
                  </a:lnTo>
                  <a:lnTo>
                    <a:pt x="962856" y="151165"/>
                  </a:lnTo>
                  <a:lnTo>
                    <a:pt x="962856" y="93328"/>
                  </a:lnTo>
                  <a:lnTo>
                    <a:pt x="908963" y="93328"/>
                  </a:lnTo>
                  <a:lnTo>
                    <a:pt x="908963" y="0"/>
                  </a:lnTo>
                  <a:lnTo>
                    <a:pt x="816292" y="120932"/>
                  </a:lnTo>
                  <a:lnTo>
                    <a:pt x="815635" y="260924"/>
                  </a:lnTo>
                  <a:close/>
                  <a:moveTo>
                    <a:pt x="1097591" y="92671"/>
                  </a:moveTo>
                  <a:lnTo>
                    <a:pt x="1006234" y="92671"/>
                  </a:lnTo>
                  <a:lnTo>
                    <a:pt x="1006234" y="337821"/>
                  </a:lnTo>
                  <a:lnTo>
                    <a:pt x="1098905" y="337821"/>
                  </a:lnTo>
                  <a:lnTo>
                    <a:pt x="1098905" y="239235"/>
                  </a:lnTo>
                  <a:cubicBezTo>
                    <a:pt x="1097591" y="192571"/>
                    <a:pt x="1114022" y="163653"/>
                    <a:pt x="1162657" y="162995"/>
                  </a:cubicBezTo>
                  <a:cubicBezTo>
                    <a:pt x="1169230" y="162995"/>
                    <a:pt x="1175145" y="162995"/>
                    <a:pt x="1182374" y="163653"/>
                  </a:cubicBezTo>
                  <a:lnTo>
                    <a:pt x="1182374" y="85441"/>
                  </a:lnTo>
                  <a:cubicBezTo>
                    <a:pt x="1141626" y="84784"/>
                    <a:pt x="1110735" y="97929"/>
                    <a:pt x="1100219" y="138678"/>
                  </a:cubicBezTo>
                  <a:lnTo>
                    <a:pt x="1099562" y="138678"/>
                  </a:lnTo>
                  <a:lnTo>
                    <a:pt x="1097591" y="92671"/>
                  </a:lnTo>
                  <a:close/>
                  <a:moveTo>
                    <a:pt x="1338140" y="85441"/>
                  </a:moveTo>
                  <a:cubicBezTo>
                    <a:pt x="1261243" y="85441"/>
                    <a:pt x="1195519" y="124876"/>
                    <a:pt x="1195519" y="215575"/>
                  </a:cubicBezTo>
                  <a:cubicBezTo>
                    <a:pt x="1195519" y="306274"/>
                    <a:pt x="1261243" y="345708"/>
                    <a:pt x="1338140" y="345708"/>
                  </a:cubicBezTo>
                  <a:cubicBezTo>
                    <a:pt x="1415037" y="345708"/>
                    <a:pt x="1480761" y="306274"/>
                    <a:pt x="1480761" y="215575"/>
                  </a:cubicBezTo>
                  <a:cubicBezTo>
                    <a:pt x="1480761" y="124876"/>
                    <a:pt x="1414380" y="85441"/>
                    <a:pt x="1338140" y="85441"/>
                  </a:cubicBezTo>
                  <a:close/>
                  <a:moveTo>
                    <a:pt x="1290819" y="215575"/>
                  </a:moveTo>
                  <a:cubicBezTo>
                    <a:pt x="1290819" y="180741"/>
                    <a:pt x="1299363" y="139335"/>
                    <a:pt x="1338140" y="139335"/>
                  </a:cubicBezTo>
                  <a:cubicBezTo>
                    <a:pt x="1376917" y="139335"/>
                    <a:pt x="1385461" y="180741"/>
                    <a:pt x="1385461" y="215575"/>
                  </a:cubicBezTo>
                  <a:cubicBezTo>
                    <a:pt x="1385461" y="250408"/>
                    <a:pt x="1376917" y="291814"/>
                    <a:pt x="1338140" y="291814"/>
                  </a:cubicBezTo>
                  <a:cubicBezTo>
                    <a:pt x="1298706" y="291814"/>
                    <a:pt x="1290819" y="250408"/>
                    <a:pt x="1290819" y="215575"/>
                  </a:cubicBezTo>
                  <a:close/>
                  <a:moveTo>
                    <a:pt x="1678590" y="85441"/>
                  </a:moveTo>
                  <a:cubicBezTo>
                    <a:pt x="1647043" y="85441"/>
                    <a:pt x="1622725" y="95300"/>
                    <a:pt x="1601693" y="119618"/>
                  </a:cubicBezTo>
                  <a:lnTo>
                    <a:pt x="1600379" y="92671"/>
                  </a:lnTo>
                  <a:lnTo>
                    <a:pt x="1509023" y="92671"/>
                  </a:lnTo>
                  <a:lnTo>
                    <a:pt x="1509023" y="337821"/>
                  </a:lnTo>
                  <a:lnTo>
                    <a:pt x="1601693" y="337821"/>
                  </a:lnTo>
                  <a:lnTo>
                    <a:pt x="1601693" y="197829"/>
                  </a:lnTo>
                  <a:cubicBezTo>
                    <a:pt x="1601693" y="195200"/>
                    <a:pt x="1595778" y="144593"/>
                    <a:pt x="1641785" y="144593"/>
                  </a:cubicBezTo>
                  <a:cubicBezTo>
                    <a:pt x="1670704" y="144593"/>
                    <a:pt x="1676619" y="170225"/>
                    <a:pt x="1677276" y="194543"/>
                  </a:cubicBezTo>
                  <a:lnTo>
                    <a:pt x="1677276" y="338478"/>
                  </a:lnTo>
                  <a:lnTo>
                    <a:pt x="1769947" y="338478"/>
                  </a:lnTo>
                  <a:lnTo>
                    <a:pt x="1769947" y="174169"/>
                  </a:lnTo>
                  <a:cubicBezTo>
                    <a:pt x="1770604" y="119618"/>
                    <a:pt x="1731170" y="85441"/>
                    <a:pt x="1678590" y="85441"/>
                  </a:cubicBezTo>
                  <a:close/>
                </a:path>
              </a:pathLst>
            </a:custGeom>
            <a:solidFill>
              <a:schemeClr val="accent1"/>
            </a:solidFill>
            <a:ln w="6540"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2040829126"/>
      </p:ext>
    </p:extLst>
  </p:cSld>
  <p:clrMapOvr>
    <a:masterClrMapping/>
  </p:clrMapOvr>
  <p:extLst>
    <p:ext uri="{DCECCB84-F9BA-43D5-87BE-67443E8EF086}">
      <p15:sldGuideLst xmlns:p15="http://schemas.microsoft.com/office/powerpoint/2012/main">
        <p15:guide id="1" pos="2525">
          <p15:clr>
            <a:srgbClr val="FBAE40"/>
          </p15:clr>
        </p15:guide>
        <p15:guide id="2" pos="2661">
          <p15:clr>
            <a:srgbClr val="FBAE40"/>
          </p15:clr>
        </p15:guide>
        <p15:guide id="3" pos="279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 content gradient">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4036107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Freihandform: Form 13">
            <a:extLst>
              <a:ext uri="{FF2B5EF4-FFF2-40B4-BE49-F238E27FC236}">
                <a16:creationId xmlns:a16="http://schemas.microsoft.com/office/drawing/2014/main" id="{55F5D3BA-7765-4777-5C46-26EFE8E737BD}"/>
              </a:ext>
            </a:extLst>
          </p:cNvPr>
          <p:cNvSpPr>
            <a:spLocks/>
          </p:cNvSpPr>
          <p:nvPr userDrawn="1"/>
        </p:nvSpPr>
        <p:spPr>
          <a:xfrm>
            <a:off x="1" y="6449104"/>
            <a:ext cx="11221821" cy="408897"/>
          </a:xfrm>
          <a:custGeom>
            <a:avLst/>
            <a:gdLst>
              <a:gd name="connsiteX0" fmla="*/ 0 w 11221821"/>
              <a:gd name="connsiteY0" fmla="*/ 0 h 408897"/>
              <a:gd name="connsiteX1" fmla="*/ 2901161 w 11221821"/>
              <a:gd name="connsiteY1" fmla="*/ 0 h 408897"/>
              <a:gd name="connsiteX2" fmla="*/ 7380716 w 11221821"/>
              <a:gd name="connsiteY2" fmla="*/ 0 h 408897"/>
              <a:gd name="connsiteX3" fmla="*/ 10922202 w 11221821"/>
              <a:gd name="connsiteY3" fmla="*/ 0 h 408897"/>
              <a:gd name="connsiteX4" fmla="*/ 11221821 w 11221821"/>
              <a:gd name="connsiteY4" fmla="*/ 408897 h 408897"/>
              <a:gd name="connsiteX5" fmla="*/ 0 w 11221821"/>
              <a:gd name="connsiteY5" fmla="*/ 408897 h 40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1821" h="408897">
                <a:moveTo>
                  <a:pt x="0" y="0"/>
                </a:moveTo>
                <a:lnTo>
                  <a:pt x="2901161" y="0"/>
                </a:lnTo>
                <a:lnTo>
                  <a:pt x="7380716" y="0"/>
                </a:lnTo>
                <a:lnTo>
                  <a:pt x="10922202" y="0"/>
                </a:lnTo>
                <a:lnTo>
                  <a:pt x="11221821" y="408897"/>
                </a:lnTo>
                <a:lnTo>
                  <a:pt x="0" y="408897"/>
                </a:lnTo>
                <a:close/>
              </a:path>
            </a:pathLst>
          </a:custGeom>
          <a:gradFill>
            <a:gsLst>
              <a:gs pos="45000">
                <a:schemeClr val="accent1"/>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el 1">
            <a:extLst>
              <a:ext uri="{FF2B5EF4-FFF2-40B4-BE49-F238E27FC236}">
                <a16:creationId xmlns:a16="http://schemas.microsoft.com/office/drawing/2014/main" id="{CDA4FE97-9D3F-4806-826F-04FA53127EE8}"/>
              </a:ext>
            </a:extLst>
          </p:cNvPr>
          <p:cNvSpPr>
            <a:spLocks noGrp="1"/>
          </p:cNvSpPr>
          <p:nvPr>
            <p:ph type="title" hasCustomPrompt="1"/>
          </p:nvPr>
        </p:nvSpPr>
        <p:spPr/>
        <p:txBody>
          <a:bodyPr vert="horz"/>
          <a:lstStyle/>
          <a:p>
            <a:r>
              <a:rPr lang="de-DE" dirty="0"/>
              <a:t>Title, Calibri </a:t>
            </a:r>
            <a:r>
              <a:rPr lang="de-DE" dirty="0" err="1"/>
              <a:t>Bold</a:t>
            </a:r>
            <a:r>
              <a:rPr lang="de-DE" dirty="0"/>
              <a:t>, 32pt</a:t>
            </a:r>
            <a:endParaRPr lang="en-US" dirty="0"/>
          </a:p>
        </p:txBody>
      </p:sp>
      <p:sp>
        <p:nvSpPr>
          <p:cNvPr id="3" name="Inhaltsplatzhalter 2">
            <a:extLst>
              <a:ext uri="{FF2B5EF4-FFF2-40B4-BE49-F238E27FC236}">
                <a16:creationId xmlns:a16="http://schemas.microsoft.com/office/drawing/2014/main" id="{8F6218BB-9612-46C6-A52F-A0032EAFB803}"/>
              </a:ext>
            </a:extLst>
          </p:cNvPr>
          <p:cNvSpPr>
            <a:spLocks noGrp="1"/>
          </p:cNvSpPr>
          <p:nvPr>
            <p:ph idx="1" hasCustomPrompt="1"/>
          </p:nvPr>
        </p:nvSpPr>
        <p:spPr>
          <a:xfrm>
            <a:off x="695325" y="1628775"/>
            <a:ext cx="3313113"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5" name="Fußzeilenplatzhalter 4">
            <a:extLst>
              <a:ext uri="{FF2B5EF4-FFF2-40B4-BE49-F238E27FC236}">
                <a16:creationId xmlns:a16="http://schemas.microsoft.com/office/drawing/2014/main" id="{8D6D93A5-EB18-42A3-92C9-BCCDDB54CB05}"/>
              </a:ext>
            </a:extLst>
          </p:cNvPr>
          <p:cNvSpPr>
            <a:spLocks noGrp="1"/>
          </p:cNvSpPr>
          <p:nvPr>
            <p:ph type="ftr" sz="quarter" idx="11"/>
          </p:nvPr>
        </p:nvSpPr>
        <p:spPr/>
        <p:txBody>
          <a:bodyPr/>
          <a:lstStyle>
            <a:lvl1pPr>
              <a:defRPr>
                <a:solidFill>
                  <a:schemeClr val="bg1"/>
                </a:solidFill>
              </a:defRPr>
            </a:lvl1pPr>
          </a:lstStyle>
          <a:p>
            <a:r>
              <a:rPr lang="en-US" dirty="0"/>
              <a:t>Footer</a:t>
            </a:r>
          </a:p>
        </p:txBody>
      </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8" name="Textplatzhalter 7">
            <a:extLst>
              <a:ext uri="{FF2B5EF4-FFF2-40B4-BE49-F238E27FC236}">
                <a16:creationId xmlns:a16="http://schemas.microsoft.com/office/drawing/2014/main" id="{42F3C34B-24E5-47A4-6876-9BC98D1537C5}"/>
              </a:ext>
            </a:extLst>
          </p:cNvPr>
          <p:cNvSpPr>
            <a:spLocks noGrp="1"/>
          </p:cNvSpPr>
          <p:nvPr>
            <p:ph type="body" sz="quarter" idx="13" hasCustomPrompt="1"/>
          </p:nvPr>
        </p:nvSpPr>
        <p:spPr>
          <a:xfrm>
            <a:off x="695325" y="815466"/>
            <a:ext cx="8707438" cy="350838"/>
          </a:xfrm>
        </p:spPr>
        <p:txBody>
          <a:bodyPr>
            <a:noAutofit/>
          </a:bodyPr>
          <a:lstStyle>
            <a:lvl1pPr marL="0" indent="0">
              <a:buNone/>
              <a:defRPr sz="2400">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
        <p:nvSpPr>
          <p:cNvPr id="4" name="Inhaltsplatzhalter 2">
            <a:extLst>
              <a:ext uri="{FF2B5EF4-FFF2-40B4-BE49-F238E27FC236}">
                <a16:creationId xmlns:a16="http://schemas.microsoft.com/office/drawing/2014/main" id="{E7EEBF4B-23B4-6B8C-35B0-DF94A24DC996}"/>
              </a:ext>
            </a:extLst>
          </p:cNvPr>
          <p:cNvSpPr>
            <a:spLocks noGrp="1"/>
          </p:cNvSpPr>
          <p:nvPr>
            <p:ph idx="14" hasCustomPrompt="1"/>
          </p:nvPr>
        </p:nvSpPr>
        <p:spPr>
          <a:xfrm>
            <a:off x="4440238" y="1628775"/>
            <a:ext cx="7054055"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Tree>
    <p:extLst>
      <p:ext uri="{BB962C8B-B14F-4D97-AF65-F5344CB8AC3E}">
        <p14:creationId xmlns:p14="http://schemas.microsoft.com/office/powerpoint/2010/main" val="357064302"/>
      </p:ext>
    </p:extLst>
  </p:cSld>
  <p:clrMapOvr>
    <a:masterClrMapping/>
  </p:clrMapOvr>
  <p:extLst>
    <p:ext uri="{DCECCB84-F9BA-43D5-87BE-67443E8EF086}">
      <p15:sldGuideLst xmlns:p15="http://schemas.microsoft.com/office/powerpoint/2012/main">
        <p15:guide id="1" pos="2525">
          <p15:clr>
            <a:srgbClr val="FBAE40"/>
          </p15:clr>
        </p15:guide>
        <p15:guide id="2" pos="2661">
          <p15:clr>
            <a:srgbClr val="FBAE40"/>
          </p15:clr>
        </p15:guide>
        <p15:guide id="3" pos="279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3 content arrow">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884483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Freihandform: Form 19">
            <a:extLst>
              <a:ext uri="{FF2B5EF4-FFF2-40B4-BE49-F238E27FC236}">
                <a16:creationId xmlns:a16="http://schemas.microsoft.com/office/drawing/2014/main" id="{8169F121-95D4-94D5-6BA3-EB351DD0EBC7}"/>
              </a:ext>
            </a:extLst>
          </p:cNvPr>
          <p:cNvSpPr/>
          <p:nvPr userDrawn="1"/>
        </p:nvSpPr>
        <p:spPr>
          <a:xfrm flipH="1">
            <a:off x="3033482" y="1"/>
            <a:ext cx="9158518" cy="6857999"/>
          </a:xfrm>
          <a:custGeom>
            <a:avLst/>
            <a:gdLst>
              <a:gd name="connsiteX0" fmla="*/ 5451032 w 9158518"/>
              <a:gd name="connsiteY0" fmla="*/ 0 h 6857999"/>
              <a:gd name="connsiteX1" fmla="*/ 0 w 9158518"/>
              <a:gd name="connsiteY1" fmla="*/ 0 h 6857999"/>
              <a:gd name="connsiteX2" fmla="*/ 0 w 9158518"/>
              <a:gd name="connsiteY2" fmla="*/ 4613876 h 6857999"/>
              <a:gd name="connsiteX3" fmla="*/ 1540882 w 9158518"/>
              <a:gd name="connsiteY3" fmla="*/ 6857999 h 6857999"/>
              <a:gd name="connsiteX4" fmla="*/ 9158518 w 9158518"/>
              <a:gd name="connsiteY4" fmla="*/ 6857999 h 6857999"/>
              <a:gd name="connsiteX5" fmla="*/ 4662917 w 9158518"/>
              <a:gd name="connsiteY5" fmla="*/ 1033083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58518" h="6857999">
                <a:moveTo>
                  <a:pt x="5451032" y="0"/>
                </a:moveTo>
                <a:lnTo>
                  <a:pt x="0" y="0"/>
                </a:lnTo>
                <a:lnTo>
                  <a:pt x="0" y="4613876"/>
                </a:lnTo>
                <a:lnTo>
                  <a:pt x="1540882" y="6857999"/>
                </a:lnTo>
                <a:lnTo>
                  <a:pt x="9158518" y="6857999"/>
                </a:lnTo>
                <a:lnTo>
                  <a:pt x="4662917" y="1033083"/>
                </a:lnTo>
                <a:close/>
              </a:path>
            </a:pathLst>
          </a:custGeom>
          <a:solidFill>
            <a:schemeClr val="bg2">
              <a:alpha val="45000"/>
            </a:schemeClr>
          </a:solidFill>
          <a:ln w="6540" cap="flat">
            <a:noFill/>
            <a:prstDash val="solid"/>
            <a:miter/>
          </a:ln>
        </p:spPr>
        <p:txBody>
          <a:bodyPr wrap="square" rtlCol="0" anchor="ctr">
            <a:noAutofit/>
          </a:bodyPr>
          <a:lstStyle/>
          <a:p>
            <a:pPr lvl="0"/>
            <a:endParaRPr lang="en-GB" dirty="0"/>
          </a:p>
        </p:txBody>
      </p:sp>
      <p:sp>
        <p:nvSpPr>
          <p:cNvPr id="2" name="Titel 1">
            <a:extLst>
              <a:ext uri="{FF2B5EF4-FFF2-40B4-BE49-F238E27FC236}">
                <a16:creationId xmlns:a16="http://schemas.microsoft.com/office/drawing/2014/main" id="{CDA4FE97-9D3F-4806-826F-04FA53127EE8}"/>
              </a:ext>
            </a:extLst>
          </p:cNvPr>
          <p:cNvSpPr>
            <a:spLocks noGrp="1"/>
          </p:cNvSpPr>
          <p:nvPr>
            <p:ph type="title" hasCustomPrompt="1"/>
          </p:nvPr>
        </p:nvSpPr>
        <p:spPr/>
        <p:txBody>
          <a:bodyPr vert="horz"/>
          <a:lstStyle/>
          <a:p>
            <a:r>
              <a:rPr lang="de-DE" dirty="0"/>
              <a:t>Title, Calibri </a:t>
            </a:r>
            <a:r>
              <a:rPr lang="de-DE" dirty="0" err="1"/>
              <a:t>Bold</a:t>
            </a:r>
            <a:r>
              <a:rPr lang="de-DE" dirty="0"/>
              <a:t>, 32pt</a:t>
            </a:r>
            <a:endParaRPr lang="en-US" dirty="0"/>
          </a:p>
        </p:txBody>
      </p:sp>
      <p:sp>
        <p:nvSpPr>
          <p:cNvPr id="3" name="Inhaltsplatzhalter 2">
            <a:extLst>
              <a:ext uri="{FF2B5EF4-FFF2-40B4-BE49-F238E27FC236}">
                <a16:creationId xmlns:a16="http://schemas.microsoft.com/office/drawing/2014/main" id="{8F6218BB-9612-46C6-A52F-A0032EAFB803}"/>
              </a:ext>
            </a:extLst>
          </p:cNvPr>
          <p:cNvSpPr>
            <a:spLocks noGrp="1"/>
          </p:cNvSpPr>
          <p:nvPr>
            <p:ph idx="1" hasCustomPrompt="1"/>
          </p:nvPr>
        </p:nvSpPr>
        <p:spPr>
          <a:xfrm>
            <a:off x="695325" y="1628775"/>
            <a:ext cx="3313113"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8" name="Textplatzhalter 7">
            <a:extLst>
              <a:ext uri="{FF2B5EF4-FFF2-40B4-BE49-F238E27FC236}">
                <a16:creationId xmlns:a16="http://schemas.microsoft.com/office/drawing/2014/main" id="{42F3C34B-24E5-47A4-6876-9BC98D1537C5}"/>
              </a:ext>
            </a:extLst>
          </p:cNvPr>
          <p:cNvSpPr>
            <a:spLocks noGrp="1"/>
          </p:cNvSpPr>
          <p:nvPr>
            <p:ph type="body" sz="quarter" idx="13" hasCustomPrompt="1"/>
          </p:nvPr>
        </p:nvSpPr>
        <p:spPr>
          <a:xfrm>
            <a:off x="695325" y="815466"/>
            <a:ext cx="8707438" cy="350838"/>
          </a:xfrm>
        </p:spPr>
        <p:txBody>
          <a:bodyPr>
            <a:noAutofit/>
          </a:bodyPr>
          <a:lstStyle>
            <a:lvl1pPr marL="0" indent="0">
              <a:buNone/>
              <a:defRPr sz="2400">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
        <p:nvSpPr>
          <p:cNvPr id="4" name="Inhaltsplatzhalter 2">
            <a:extLst>
              <a:ext uri="{FF2B5EF4-FFF2-40B4-BE49-F238E27FC236}">
                <a16:creationId xmlns:a16="http://schemas.microsoft.com/office/drawing/2014/main" id="{E7EEBF4B-23B4-6B8C-35B0-DF94A24DC996}"/>
              </a:ext>
            </a:extLst>
          </p:cNvPr>
          <p:cNvSpPr>
            <a:spLocks noGrp="1"/>
          </p:cNvSpPr>
          <p:nvPr>
            <p:ph idx="14" hasCustomPrompt="1"/>
          </p:nvPr>
        </p:nvSpPr>
        <p:spPr>
          <a:xfrm>
            <a:off x="4440238" y="1628775"/>
            <a:ext cx="7054055"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grpSp>
        <p:nvGrpSpPr>
          <p:cNvPr id="21" name="Gruppieren 20">
            <a:extLst>
              <a:ext uri="{FF2B5EF4-FFF2-40B4-BE49-F238E27FC236}">
                <a16:creationId xmlns:a16="http://schemas.microsoft.com/office/drawing/2014/main" id="{9D253E7B-5CDE-2D9F-FF5E-5EC1D8E5610B}"/>
              </a:ext>
            </a:extLst>
          </p:cNvPr>
          <p:cNvGrpSpPr/>
          <p:nvPr userDrawn="1"/>
        </p:nvGrpSpPr>
        <p:grpSpPr>
          <a:xfrm>
            <a:off x="9938597" y="441325"/>
            <a:ext cx="1558078" cy="295275"/>
            <a:chOff x="9938597" y="441325"/>
            <a:chExt cx="1558078" cy="295275"/>
          </a:xfrm>
        </p:grpSpPr>
        <p:sp>
          <p:nvSpPr>
            <p:cNvPr id="22" name="Freeform: Shape 10">
              <a:extLst>
                <a:ext uri="{FF2B5EF4-FFF2-40B4-BE49-F238E27FC236}">
                  <a16:creationId xmlns:a16="http://schemas.microsoft.com/office/drawing/2014/main" id="{C2DEDC9F-1BFD-5343-85A0-C248D5C89272}"/>
                </a:ext>
              </a:extLst>
            </p:cNvPr>
            <p:cNvSpPr/>
            <p:nvPr/>
          </p:nvSpPr>
          <p:spPr>
            <a:xfrm>
              <a:off x="9938597" y="441325"/>
              <a:ext cx="77518" cy="289100"/>
            </a:xfrm>
            <a:custGeom>
              <a:avLst/>
              <a:gdLst>
                <a:gd name="connsiteX0" fmla="*/ 92671 w 92670"/>
                <a:gd name="connsiteY0" fmla="*/ 0 h 338478"/>
                <a:gd name="connsiteX1" fmla="*/ 0 w 92670"/>
                <a:gd name="connsiteY1" fmla="*/ 0 h 338478"/>
                <a:gd name="connsiteX2" fmla="*/ 0 w 92670"/>
                <a:gd name="connsiteY2" fmla="*/ 338478 h 338478"/>
                <a:gd name="connsiteX3" fmla="*/ 92671 w 92670"/>
                <a:gd name="connsiteY3" fmla="*/ 217546 h 338478"/>
              </a:gdLst>
              <a:ahLst/>
              <a:cxnLst>
                <a:cxn ang="0">
                  <a:pos x="connsiteX0" y="connsiteY0"/>
                </a:cxn>
                <a:cxn ang="0">
                  <a:pos x="connsiteX1" y="connsiteY1"/>
                </a:cxn>
                <a:cxn ang="0">
                  <a:pos x="connsiteX2" y="connsiteY2"/>
                </a:cxn>
                <a:cxn ang="0">
                  <a:pos x="connsiteX3" y="connsiteY3"/>
                </a:cxn>
              </a:cxnLst>
              <a:rect l="l" t="t" r="r" b="b"/>
              <a:pathLst>
                <a:path w="92670" h="338478">
                  <a:moveTo>
                    <a:pt x="92671" y="0"/>
                  </a:moveTo>
                  <a:lnTo>
                    <a:pt x="0" y="0"/>
                  </a:lnTo>
                  <a:lnTo>
                    <a:pt x="0" y="338478"/>
                  </a:lnTo>
                  <a:lnTo>
                    <a:pt x="92671" y="217546"/>
                  </a:lnTo>
                  <a:close/>
                </a:path>
              </a:pathLst>
            </a:custGeom>
            <a:solidFill>
              <a:schemeClr val="accent3"/>
            </a:solidFill>
            <a:ln w="6540" cap="flat">
              <a:noFill/>
              <a:prstDash val="solid"/>
              <a:miter/>
            </a:ln>
          </p:spPr>
          <p:txBody>
            <a:bodyPr rtlCol="0" anchor="ctr"/>
            <a:lstStyle/>
            <a:p>
              <a:endParaRPr lang="en-GB"/>
            </a:p>
          </p:txBody>
        </p:sp>
        <p:sp>
          <p:nvSpPr>
            <p:cNvPr id="23" name="Freeform: Shape 11">
              <a:extLst>
                <a:ext uri="{FF2B5EF4-FFF2-40B4-BE49-F238E27FC236}">
                  <a16:creationId xmlns:a16="http://schemas.microsoft.com/office/drawing/2014/main" id="{272BC39D-CB69-31CF-8B75-FF3B60CEA1D1}"/>
                </a:ext>
              </a:extLst>
            </p:cNvPr>
            <p:cNvSpPr/>
            <p:nvPr/>
          </p:nvSpPr>
          <p:spPr>
            <a:xfrm>
              <a:off x="10016115" y="441325"/>
              <a:ext cx="1480560" cy="295275"/>
            </a:xfrm>
            <a:custGeom>
              <a:avLst/>
              <a:gdLst>
                <a:gd name="connsiteX0" fmla="*/ 196515 w 1769954"/>
                <a:gd name="connsiteY0" fmla="*/ 92671 h 345708"/>
                <a:gd name="connsiteX1" fmla="*/ 99243 w 1769954"/>
                <a:gd name="connsiteY1" fmla="*/ 217546 h 345708"/>
                <a:gd name="connsiteX2" fmla="*/ 194543 w 1769954"/>
                <a:gd name="connsiteY2" fmla="*/ 338478 h 345708"/>
                <a:gd name="connsiteX3" fmla="*/ 84784 w 1769954"/>
                <a:gd name="connsiteY3" fmla="*/ 338478 h 345708"/>
                <a:gd name="connsiteX4" fmla="*/ 0 w 1769954"/>
                <a:gd name="connsiteY4" fmla="*/ 217546 h 345708"/>
                <a:gd name="connsiteX5" fmla="*/ 95300 w 1769954"/>
                <a:gd name="connsiteY5" fmla="*/ 93328 h 345708"/>
                <a:gd name="connsiteX6" fmla="*/ 196515 w 1769954"/>
                <a:gd name="connsiteY6" fmla="*/ 92671 h 345708"/>
                <a:gd name="connsiteX7" fmla="*/ 338478 w 1769954"/>
                <a:gd name="connsiteY7" fmla="*/ 85441 h 345708"/>
                <a:gd name="connsiteX8" fmla="*/ 195857 w 1769954"/>
                <a:gd name="connsiteY8" fmla="*/ 215575 h 345708"/>
                <a:gd name="connsiteX9" fmla="*/ 338478 w 1769954"/>
                <a:gd name="connsiteY9" fmla="*/ 345708 h 345708"/>
                <a:gd name="connsiteX10" fmla="*/ 481100 w 1769954"/>
                <a:gd name="connsiteY10" fmla="*/ 215575 h 345708"/>
                <a:gd name="connsiteX11" fmla="*/ 338478 w 1769954"/>
                <a:gd name="connsiteY11" fmla="*/ 85441 h 345708"/>
                <a:gd name="connsiteX12" fmla="*/ 291157 w 1769954"/>
                <a:gd name="connsiteY12" fmla="*/ 215575 h 345708"/>
                <a:gd name="connsiteX13" fmla="*/ 338478 w 1769954"/>
                <a:gd name="connsiteY13" fmla="*/ 139335 h 345708"/>
                <a:gd name="connsiteX14" fmla="*/ 385800 w 1769954"/>
                <a:gd name="connsiteY14" fmla="*/ 215575 h 345708"/>
                <a:gd name="connsiteX15" fmla="*/ 338478 w 1769954"/>
                <a:gd name="connsiteY15" fmla="*/ 291814 h 345708"/>
                <a:gd name="connsiteX16" fmla="*/ 291157 w 1769954"/>
                <a:gd name="connsiteY16" fmla="*/ 215575 h 345708"/>
                <a:gd name="connsiteX17" fmla="*/ 683529 w 1769954"/>
                <a:gd name="connsiteY17" fmla="*/ 85441 h 345708"/>
                <a:gd name="connsiteX18" fmla="*/ 606632 w 1769954"/>
                <a:gd name="connsiteY18" fmla="*/ 119618 h 345708"/>
                <a:gd name="connsiteX19" fmla="*/ 605318 w 1769954"/>
                <a:gd name="connsiteY19" fmla="*/ 92671 h 345708"/>
                <a:gd name="connsiteX20" fmla="*/ 513962 w 1769954"/>
                <a:gd name="connsiteY20" fmla="*/ 92671 h 345708"/>
                <a:gd name="connsiteX21" fmla="*/ 513962 w 1769954"/>
                <a:gd name="connsiteY21" fmla="*/ 337821 h 345708"/>
                <a:gd name="connsiteX22" fmla="*/ 606632 w 1769954"/>
                <a:gd name="connsiteY22" fmla="*/ 337821 h 345708"/>
                <a:gd name="connsiteX23" fmla="*/ 606632 w 1769954"/>
                <a:gd name="connsiteY23" fmla="*/ 197172 h 345708"/>
                <a:gd name="connsiteX24" fmla="*/ 646724 w 1769954"/>
                <a:gd name="connsiteY24" fmla="*/ 143935 h 345708"/>
                <a:gd name="connsiteX25" fmla="*/ 682215 w 1769954"/>
                <a:gd name="connsiteY25" fmla="*/ 193886 h 345708"/>
                <a:gd name="connsiteX26" fmla="*/ 682215 w 1769954"/>
                <a:gd name="connsiteY26" fmla="*/ 337821 h 345708"/>
                <a:gd name="connsiteX27" fmla="*/ 774886 w 1769954"/>
                <a:gd name="connsiteY27" fmla="*/ 337821 h 345708"/>
                <a:gd name="connsiteX28" fmla="*/ 774886 w 1769954"/>
                <a:gd name="connsiteY28" fmla="*/ 173511 h 345708"/>
                <a:gd name="connsiteX29" fmla="*/ 683529 w 1769954"/>
                <a:gd name="connsiteY29" fmla="*/ 85441 h 345708"/>
                <a:gd name="connsiteX30" fmla="*/ 815635 w 1769954"/>
                <a:gd name="connsiteY30" fmla="*/ 260924 h 345708"/>
                <a:gd name="connsiteX31" fmla="*/ 912249 w 1769954"/>
                <a:gd name="connsiteY31" fmla="*/ 345051 h 345708"/>
                <a:gd name="connsiteX32" fmla="*/ 962199 w 1769954"/>
                <a:gd name="connsiteY32" fmla="*/ 340450 h 345708"/>
                <a:gd name="connsiteX33" fmla="*/ 962199 w 1769954"/>
                <a:gd name="connsiteY33" fmla="*/ 285242 h 345708"/>
                <a:gd name="connsiteX34" fmla="*/ 926708 w 1769954"/>
                <a:gd name="connsiteY34" fmla="*/ 286556 h 345708"/>
                <a:gd name="connsiteX35" fmla="*/ 908963 w 1769954"/>
                <a:gd name="connsiteY35" fmla="*/ 248437 h 345708"/>
                <a:gd name="connsiteX36" fmla="*/ 908963 w 1769954"/>
                <a:gd name="connsiteY36" fmla="*/ 151165 h 345708"/>
                <a:gd name="connsiteX37" fmla="*/ 962856 w 1769954"/>
                <a:gd name="connsiteY37" fmla="*/ 151165 h 345708"/>
                <a:gd name="connsiteX38" fmla="*/ 962856 w 1769954"/>
                <a:gd name="connsiteY38" fmla="*/ 93328 h 345708"/>
                <a:gd name="connsiteX39" fmla="*/ 908963 w 1769954"/>
                <a:gd name="connsiteY39" fmla="*/ 93328 h 345708"/>
                <a:gd name="connsiteX40" fmla="*/ 908963 w 1769954"/>
                <a:gd name="connsiteY40" fmla="*/ 0 h 345708"/>
                <a:gd name="connsiteX41" fmla="*/ 816292 w 1769954"/>
                <a:gd name="connsiteY41" fmla="*/ 120932 h 345708"/>
                <a:gd name="connsiteX42" fmla="*/ 815635 w 1769954"/>
                <a:gd name="connsiteY42" fmla="*/ 260924 h 345708"/>
                <a:gd name="connsiteX43" fmla="*/ 1097591 w 1769954"/>
                <a:gd name="connsiteY43" fmla="*/ 92671 h 345708"/>
                <a:gd name="connsiteX44" fmla="*/ 1006234 w 1769954"/>
                <a:gd name="connsiteY44" fmla="*/ 92671 h 345708"/>
                <a:gd name="connsiteX45" fmla="*/ 1006234 w 1769954"/>
                <a:gd name="connsiteY45" fmla="*/ 337821 h 345708"/>
                <a:gd name="connsiteX46" fmla="*/ 1098905 w 1769954"/>
                <a:gd name="connsiteY46" fmla="*/ 337821 h 345708"/>
                <a:gd name="connsiteX47" fmla="*/ 1098905 w 1769954"/>
                <a:gd name="connsiteY47" fmla="*/ 239235 h 345708"/>
                <a:gd name="connsiteX48" fmla="*/ 1162657 w 1769954"/>
                <a:gd name="connsiteY48" fmla="*/ 162995 h 345708"/>
                <a:gd name="connsiteX49" fmla="*/ 1182374 w 1769954"/>
                <a:gd name="connsiteY49" fmla="*/ 163653 h 345708"/>
                <a:gd name="connsiteX50" fmla="*/ 1182374 w 1769954"/>
                <a:gd name="connsiteY50" fmla="*/ 85441 h 345708"/>
                <a:gd name="connsiteX51" fmla="*/ 1100219 w 1769954"/>
                <a:gd name="connsiteY51" fmla="*/ 138678 h 345708"/>
                <a:gd name="connsiteX52" fmla="*/ 1099562 w 1769954"/>
                <a:gd name="connsiteY52" fmla="*/ 138678 h 345708"/>
                <a:gd name="connsiteX53" fmla="*/ 1097591 w 1769954"/>
                <a:gd name="connsiteY53" fmla="*/ 92671 h 345708"/>
                <a:gd name="connsiteX54" fmla="*/ 1338140 w 1769954"/>
                <a:gd name="connsiteY54" fmla="*/ 85441 h 345708"/>
                <a:gd name="connsiteX55" fmla="*/ 1195519 w 1769954"/>
                <a:gd name="connsiteY55" fmla="*/ 215575 h 345708"/>
                <a:gd name="connsiteX56" fmla="*/ 1338140 w 1769954"/>
                <a:gd name="connsiteY56" fmla="*/ 345708 h 345708"/>
                <a:gd name="connsiteX57" fmla="*/ 1480761 w 1769954"/>
                <a:gd name="connsiteY57" fmla="*/ 215575 h 345708"/>
                <a:gd name="connsiteX58" fmla="*/ 1338140 w 1769954"/>
                <a:gd name="connsiteY58" fmla="*/ 85441 h 345708"/>
                <a:gd name="connsiteX59" fmla="*/ 1290819 w 1769954"/>
                <a:gd name="connsiteY59" fmla="*/ 215575 h 345708"/>
                <a:gd name="connsiteX60" fmla="*/ 1338140 w 1769954"/>
                <a:gd name="connsiteY60" fmla="*/ 139335 h 345708"/>
                <a:gd name="connsiteX61" fmla="*/ 1385461 w 1769954"/>
                <a:gd name="connsiteY61" fmla="*/ 215575 h 345708"/>
                <a:gd name="connsiteX62" fmla="*/ 1338140 w 1769954"/>
                <a:gd name="connsiteY62" fmla="*/ 291814 h 345708"/>
                <a:gd name="connsiteX63" fmla="*/ 1290819 w 1769954"/>
                <a:gd name="connsiteY63" fmla="*/ 215575 h 345708"/>
                <a:gd name="connsiteX64" fmla="*/ 1678590 w 1769954"/>
                <a:gd name="connsiteY64" fmla="*/ 85441 h 345708"/>
                <a:gd name="connsiteX65" fmla="*/ 1601693 w 1769954"/>
                <a:gd name="connsiteY65" fmla="*/ 119618 h 345708"/>
                <a:gd name="connsiteX66" fmla="*/ 1600379 w 1769954"/>
                <a:gd name="connsiteY66" fmla="*/ 92671 h 345708"/>
                <a:gd name="connsiteX67" fmla="*/ 1509023 w 1769954"/>
                <a:gd name="connsiteY67" fmla="*/ 92671 h 345708"/>
                <a:gd name="connsiteX68" fmla="*/ 1509023 w 1769954"/>
                <a:gd name="connsiteY68" fmla="*/ 337821 h 345708"/>
                <a:gd name="connsiteX69" fmla="*/ 1601693 w 1769954"/>
                <a:gd name="connsiteY69" fmla="*/ 337821 h 345708"/>
                <a:gd name="connsiteX70" fmla="*/ 1601693 w 1769954"/>
                <a:gd name="connsiteY70" fmla="*/ 197829 h 345708"/>
                <a:gd name="connsiteX71" fmla="*/ 1641785 w 1769954"/>
                <a:gd name="connsiteY71" fmla="*/ 144593 h 345708"/>
                <a:gd name="connsiteX72" fmla="*/ 1677276 w 1769954"/>
                <a:gd name="connsiteY72" fmla="*/ 194543 h 345708"/>
                <a:gd name="connsiteX73" fmla="*/ 1677276 w 1769954"/>
                <a:gd name="connsiteY73" fmla="*/ 338478 h 345708"/>
                <a:gd name="connsiteX74" fmla="*/ 1769947 w 1769954"/>
                <a:gd name="connsiteY74" fmla="*/ 338478 h 345708"/>
                <a:gd name="connsiteX75" fmla="*/ 1769947 w 1769954"/>
                <a:gd name="connsiteY75" fmla="*/ 174169 h 345708"/>
                <a:gd name="connsiteX76" fmla="*/ 1678590 w 1769954"/>
                <a:gd name="connsiteY76" fmla="*/ 85441 h 34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69954" h="345708">
                  <a:moveTo>
                    <a:pt x="196515" y="92671"/>
                  </a:moveTo>
                  <a:lnTo>
                    <a:pt x="99243" y="217546"/>
                  </a:lnTo>
                  <a:lnTo>
                    <a:pt x="194543" y="338478"/>
                  </a:lnTo>
                  <a:lnTo>
                    <a:pt x="84784" y="338478"/>
                  </a:lnTo>
                  <a:lnTo>
                    <a:pt x="0" y="217546"/>
                  </a:lnTo>
                  <a:lnTo>
                    <a:pt x="95300" y="93328"/>
                  </a:lnTo>
                  <a:lnTo>
                    <a:pt x="196515" y="92671"/>
                  </a:lnTo>
                  <a:close/>
                  <a:moveTo>
                    <a:pt x="338478" y="85441"/>
                  </a:moveTo>
                  <a:cubicBezTo>
                    <a:pt x="261581" y="85441"/>
                    <a:pt x="195857" y="124876"/>
                    <a:pt x="195857" y="215575"/>
                  </a:cubicBezTo>
                  <a:cubicBezTo>
                    <a:pt x="195857" y="306274"/>
                    <a:pt x="261581" y="345708"/>
                    <a:pt x="338478" y="345708"/>
                  </a:cubicBezTo>
                  <a:cubicBezTo>
                    <a:pt x="415376" y="345708"/>
                    <a:pt x="481100" y="306274"/>
                    <a:pt x="481100" y="215575"/>
                  </a:cubicBezTo>
                  <a:cubicBezTo>
                    <a:pt x="481757" y="125533"/>
                    <a:pt x="415376" y="85441"/>
                    <a:pt x="338478" y="85441"/>
                  </a:cubicBezTo>
                  <a:close/>
                  <a:moveTo>
                    <a:pt x="291157" y="215575"/>
                  </a:moveTo>
                  <a:cubicBezTo>
                    <a:pt x="291157" y="180741"/>
                    <a:pt x="299701" y="139335"/>
                    <a:pt x="338478" y="139335"/>
                  </a:cubicBezTo>
                  <a:cubicBezTo>
                    <a:pt x="377256" y="139335"/>
                    <a:pt x="385800" y="180741"/>
                    <a:pt x="385800" y="215575"/>
                  </a:cubicBezTo>
                  <a:cubicBezTo>
                    <a:pt x="385800" y="250408"/>
                    <a:pt x="377256" y="291814"/>
                    <a:pt x="338478" y="291814"/>
                  </a:cubicBezTo>
                  <a:cubicBezTo>
                    <a:pt x="299701" y="291814"/>
                    <a:pt x="291157" y="250408"/>
                    <a:pt x="291157" y="215575"/>
                  </a:cubicBezTo>
                  <a:close/>
                  <a:moveTo>
                    <a:pt x="683529" y="85441"/>
                  </a:moveTo>
                  <a:cubicBezTo>
                    <a:pt x="651982" y="85441"/>
                    <a:pt x="627664" y="95300"/>
                    <a:pt x="606632" y="119618"/>
                  </a:cubicBezTo>
                  <a:lnTo>
                    <a:pt x="605318" y="92671"/>
                  </a:lnTo>
                  <a:lnTo>
                    <a:pt x="513962" y="92671"/>
                  </a:lnTo>
                  <a:lnTo>
                    <a:pt x="513962" y="337821"/>
                  </a:lnTo>
                  <a:lnTo>
                    <a:pt x="606632" y="337821"/>
                  </a:lnTo>
                  <a:lnTo>
                    <a:pt x="606632" y="197172"/>
                  </a:lnTo>
                  <a:cubicBezTo>
                    <a:pt x="606632" y="194543"/>
                    <a:pt x="600717" y="143935"/>
                    <a:pt x="646724" y="143935"/>
                  </a:cubicBezTo>
                  <a:cubicBezTo>
                    <a:pt x="675643" y="143935"/>
                    <a:pt x="681558" y="169568"/>
                    <a:pt x="682215" y="193886"/>
                  </a:cubicBezTo>
                  <a:lnTo>
                    <a:pt x="682215" y="337821"/>
                  </a:lnTo>
                  <a:lnTo>
                    <a:pt x="774886" y="337821"/>
                  </a:lnTo>
                  <a:lnTo>
                    <a:pt x="774886" y="173511"/>
                  </a:lnTo>
                  <a:cubicBezTo>
                    <a:pt x="774886" y="119618"/>
                    <a:pt x="736109" y="85441"/>
                    <a:pt x="683529" y="85441"/>
                  </a:cubicBezTo>
                  <a:close/>
                  <a:moveTo>
                    <a:pt x="815635" y="260924"/>
                  </a:moveTo>
                  <a:cubicBezTo>
                    <a:pt x="811034" y="336507"/>
                    <a:pt x="849154" y="345051"/>
                    <a:pt x="912249" y="345051"/>
                  </a:cubicBezTo>
                  <a:cubicBezTo>
                    <a:pt x="926051" y="345051"/>
                    <a:pt x="941167" y="344394"/>
                    <a:pt x="962199" y="340450"/>
                  </a:cubicBezTo>
                  <a:lnTo>
                    <a:pt x="962199" y="285242"/>
                  </a:lnTo>
                  <a:cubicBezTo>
                    <a:pt x="951683" y="286556"/>
                    <a:pt x="938538" y="286556"/>
                    <a:pt x="926708" y="286556"/>
                  </a:cubicBezTo>
                  <a:cubicBezTo>
                    <a:pt x="905019" y="286556"/>
                    <a:pt x="908963" y="255009"/>
                    <a:pt x="908963" y="248437"/>
                  </a:cubicBezTo>
                  <a:lnTo>
                    <a:pt x="908963" y="151165"/>
                  </a:lnTo>
                  <a:lnTo>
                    <a:pt x="962856" y="151165"/>
                  </a:lnTo>
                  <a:lnTo>
                    <a:pt x="962856" y="93328"/>
                  </a:lnTo>
                  <a:lnTo>
                    <a:pt x="908963" y="93328"/>
                  </a:lnTo>
                  <a:lnTo>
                    <a:pt x="908963" y="0"/>
                  </a:lnTo>
                  <a:lnTo>
                    <a:pt x="816292" y="120932"/>
                  </a:lnTo>
                  <a:lnTo>
                    <a:pt x="815635" y="260924"/>
                  </a:lnTo>
                  <a:close/>
                  <a:moveTo>
                    <a:pt x="1097591" y="92671"/>
                  </a:moveTo>
                  <a:lnTo>
                    <a:pt x="1006234" y="92671"/>
                  </a:lnTo>
                  <a:lnTo>
                    <a:pt x="1006234" y="337821"/>
                  </a:lnTo>
                  <a:lnTo>
                    <a:pt x="1098905" y="337821"/>
                  </a:lnTo>
                  <a:lnTo>
                    <a:pt x="1098905" y="239235"/>
                  </a:lnTo>
                  <a:cubicBezTo>
                    <a:pt x="1097591" y="192571"/>
                    <a:pt x="1114022" y="163653"/>
                    <a:pt x="1162657" y="162995"/>
                  </a:cubicBezTo>
                  <a:cubicBezTo>
                    <a:pt x="1169230" y="162995"/>
                    <a:pt x="1175145" y="162995"/>
                    <a:pt x="1182374" y="163653"/>
                  </a:cubicBezTo>
                  <a:lnTo>
                    <a:pt x="1182374" y="85441"/>
                  </a:lnTo>
                  <a:cubicBezTo>
                    <a:pt x="1141626" y="84784"/>
                    <a:pt x="1110735" y="97929"/>
                    <a:pt x="1100219" y="138678"/>
                  </a:cubicBezTo>
                  <a:lnTo>
                    <a:pt x="1099562" y="138678"/>
                  </a:lnTo>
                  <a:lnTo>
                    <a:pt x="1097591" y="92671"/>
                  </a:lnTo>
                  <a:close/>
                  <a:moveTo>
                    <a:pt x="1338140" y="85441"/>
                  </a:moveTo>
                  <a:cubicBezTo>
                    <a:pt x="1261243" y="85441"/>
                    <a:pt x="1195519" y="124876"/>
                    <a:pt x="1195519" y="215575"/>
                  </a:cubicBezTo>
                  <a:cubicBezTo>
                    <a:pt x="1195519" y="306274"/>
                    <a:pt x="1261243" y="345708"/>
                    <a:pt x="1338140" y="345708"/>
                  </a:cubicBezTo>
                  <a:cubicBezTo>
                    <a:pt x="1415037" y="345708"/>
                    <a:pt x="1480761" y="306274"/>
                    <a:pt x="1480761" y="215575"/>
                  </a:cubicBezTo>
                  <a:cubicBezTo>
                    <a:pt x="1480761" y="124876"/>
                    <a:pt x="1414380" y="85441"/>
                    <a:pt x="1338140" y="85441"/>
                  </a:cubicBezTo>
                  <a:close/>
                  <a:moveTo>
                    <a:pt x="1290819" y="215575"/>
                  </a:moveTo>
                  <a:cubicBezTo>
                    <a:pt x="1290819" y="180741"/>
                    <a:pt x="1299363" y="139335"/>
                    <a:pt x="1338140" y="139335"/>
                  </a:cubicBezTo>
                  <a:cubicBezTo>
                    <a:pt x="1376917" y="139335"/>
                    <a:pt x="1385461" y="180741"/>
                    <a:pt x="1385461" y="215575"/>
                  </a:cubicBezTo>
                  <a:cubicBezTo>
                    <a:pt x="1385461" y="250408"/>
                    <a:pt x="1376917" y="291814"/>
                    <a:pt x="1338140" y="291814"/>
                  </a:cubicBezTo>
                  <a:cubicBezTo>
                    <a:pt x="1298706" y="291814"/>
                    <a:pt x="1290819" y="250408"/>
                    <a:pt x="1290819" y="215575"/>
                  </a:cubicBezTo>
                  <a:close/>
                  <a:moveTo>
                    <a:pt x="1678590" y="85441"/>
                  </a:moveTo>
                  <a:cubicBezTo>
                    <a:pt x="1647043" y="85441"/>
                    <a:pt x="1622725" y="95300"/>
                    <a:pt x="1601693" y="119618"/>
                  </a:cubicBezTo>
                  <a:lnTo>
                    <a:pt x="1600379" y="92671"/>
                  </a:lnTo>
                  <a:lnTo>
                    <a:pt x="1509023" y="92671"/>
                  </a:lnTo>
                  <a:lnTo>
                    <a:pt x="1509023" y="337821"/>
                  </a:lnTo>
                  <a:lnTo>
                    <a:pt x="1601693" y="337821"/>
                  </a:lnTo>
                  <a:lnTo>
                    <a:pt x="1601693" y="197829"/>
                  </a:lnTo>
                  <a:cubicBezTo>
                    <a:pt x="1601693" y="195200"/>
                    <a:pt x="1595778" y="144593"/>
                    <a:pt x="1641785" y="144593"/>
                  </a:cubicBezTo>
                  <a:cubicBezTo>
                    <a:pt x="1670704" y="144593"/>
                    <a:pt x="1676619" y="170225"/>
                    <a:pt x="1677276" y="194543"/>
                  </a:cubicBezTo>
                  <a:lnTo>
                    <a:pt x="1677276" y="338478"/>
                  </a:lnTo>
                  <a:lnTo>
                    <a:pt x="1769947" y="338478"/>
                  </a:lnTo>
                  <a:lnTo>
                    <a:pt x="1769947" y="174169"/>
                  </a:lnTo>
                  <a:cubicBezTo>
                    <a:pt x="1770604" y="119618"/>
                    <a:pt x="1731170" y="85441"/>
                    <a:pt x="1678590" y="85441"/>
                  </a:cubicBezTo>
                  <a:close/>
                </a:path>
              </a:pathLst>
            </a:custGeom>
            <a:solidFill>
              <a:schemeClr val="accent1"/>
            </a:solidFill>
            <a:ln w="6540" cap="flat">
              <a:noFill/>
              <a:prstDash val="solid"/>
              <a:miter/>
            </a:ln>
          </p:spPr>
          <p:txBody>
            <a:bodyPr rtlCol="0" anchor="ctr"/>
            <a:lstStyle/>
            <a:p>
              <a:endParaRPr lang="en-GB" dirty="0"/>
            </a:p>
          </p:txBody>
        </p:sp>
      </p:grpSp>
      <p:sp>
        <p:nvSpPr>
          <p:cNvPr id="7" name="Fußzeilenplatzhalter 6">
            <a:extLst>
              <a:ext uri="{FF2B5EF4-FFF2-40B4-BE49-F238E27FC236}">
                <a16:creationId xmlns:a16="http://schemas.microsoft.com/office/drawing/2014/main" id="{8ADD0323-53F1-36CB-382E-D27C47696A66}"/>
              </a:ext>
            </a:extLst>
          </p:cNvPr>
          <p:cNvSpPr>
            <a:spLocks noGrp="1"/>
          </p:cNvSpPr>
          <p:nvPr>
            <p:ph type="ftr" sz="quarter" idx="15"/>
          </p:nvPr>
        </p:nvSpPr>
        <p:spPr/>
        <p:txBody>
          <a:bodyPr/>
          <a:lstStyle/>
          <a:p>
            <a:r>
              <a:rPr lang="en-US"/>
              <a:t>Footer</a:t>
            </a:r>
            <a:endParaRPr lang="en-US" dirty="0"/>
          </a:p>
        </p:txBody>
      </p:sp>
    </p:spTree>
    <p:extLst>
      <p:ext uri="{BB962C8B-B14F-4D97-AF65-F5344CB8AC3E}">
        <p14:creationId xmlns:p14="http://schemas.microsoft.com/office/powerpoint/2010/main" val="1570592611"/>
      </p:ext>
    </p:extLst>
  </p:cSld>
  <p:clrMapOvr>
    <a:masterClrMapping/>
  </p:clrMapOvr>
  <p:extLst>
    <p:ext uri="{DCECCB84-F9BA-43D5-87BE-67443E8EF086}">
      <p15:sldGuideLst xmlns:p15="http://schemas.microsoft.com/office/powerpoint/2012/main">
        <p15:guide id="1" pos="2525">
          <p15:clr>
            <a:srgbClr val="FBAE40"/>
          </p15:clr>
        </p15:guide>
        <p15:guide id="2" pos="2661">
          <p15:clr>
            <a:srgbClr val="FBAE40"/>
          </p15:clr>
        </p15:guide>
        <p15:guide id="3" pos="279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image 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23DC706-FF19-0519-32D1-27E11AEDB41E}"/>
              </a:ext>
            </a:extLst>
          </p:cNvPr>
          <p:cNvGraphicFramePr>
            <a:graphicFrameLocks noChangeAspect="1"/>
          </p:cNvGraphicFramePr>
          <p:nvPr userDrawn="1">
            <p:custDataLst>
              <p:tags r:id="rId1"/>
            </p:custDataLst>
            <p:extLst>
              <p:ext uri="{D42A27DB-BD31-4B8C-83A1-F6EECF244321}">
                <p14:modId xmlns:p14="http://schemas.microsoft.com/office/powerpoint/2010/main" val="2689335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8" name="Objekt 7" hidden="1">
                        <a:extLst>
                          <a:ext uri="{FF2B5EF4-FFF2-40B4-BE49-F238E27FC236}">
                            <a16:creationId xmlns:a16="http://schemas.microsoft.com/office/drawing/2014/main" id="{023DC706-FF19-0519-32D1-27E11AEDB4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6" name="Freihandform: Form 65">
            <a:extLst>
              <a:ext uri="{FF2B5EF4-FFF2-40B4-BE49-F238E27FC236}">
                <a16:creationId xmlns:a16="http://schemas.microsoft.com/office/drawing/2014/main" id="{E5FFE867-0B84-6328-6448-62CA2F1396BE}"/>
              </a:ext>
            </a:extLst>
          </p:cNvPr>
          <p:cNvSpPr/>
          <p:nvPr userDrawn="1"/>
        </p:nvSpPr>
        <p:spPr>
          <a:xfrm>
            <a:off x="0" y="0"/>
            <a:ext cx="6225435" cy="6858000"/>
          </a:xfrm>
          <a:custGeom>
            <a:avLst/>
            <a:gdLst>
              <a:gd name="connsiteX0" fmla="*/ 0 w 7005849"/>
              <a:gd name="connsiteY0" fmla="*/ 0 h 6858000"/>
              <a:gd name="connsiteX1" fmla="*/ 1424840 w 7005849"/>
              <a:gd name="connsiteY1" fmla="*/ 0 h 6858000"/>
              <a:gd name="connsiteX2" fmla="*/ 3126959 w 7005849"/>
              <a:gd name="connsiteY2" fmla="*/ 0 h 6858000"/>
              <a:gd name="connsiteX3" fmla="*/ 4551799 w 7005849"/>
              <a:gd name="connsiteY3" fmla="*/ 0 h 6858000"/>
              <a:gd name="connsiteX4" fmla="*/ 7005849 w 7005849"/>
              <a:gd name="connsiteY4" fmla="*/ 3266104 h 6858000"/>
              <a:gd name="connsiteX5" fmla="*/ 4539546 w 7005849"/>
              <a:gd name="connsiteY5" fmla="*/ 6858000 h 6858000"/>
              <a:gd name="connsiteX6" fmla="*/ 3114706 w 7005849"/>
              <a:gd name="connsiteY6" fmla="*/ 6858000 h 6858000"/>
              <a:gd name="connsiteX7" fmla="*/ 1424840 w 7005849"/>
              <a:gd name="connsiteY7" fmla="*/ 6858000 h 6858000"/>
              <a:gd name="connsiteX8" fmla="*/ 0 w 7005849"/>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05849" h="6858000">
                <a:moveTo>
                  <a:pt x="0" y="0"/>
                </a:moveTo>
                <a:lnTo>
                  <a:pt x="1424840" y="0"/>
                </a:lnTo>
                <a:lnTo>
                  <a:pt x="3126959" y="0"/>
                </a:lnTo>
                <a:lnTo>
                  <a:pt x="4551799" y="0"/>
                </a:lnTo>
                <a:lnTo>
                  <a:pt x="7005849" y="3266104"/>
                </a:lnTo>
                <a:lnTo>
                  <a:pt x="4539546" y="6858000"/>
                </a:lnTo>
                <a:lnTo>
                  <a:pt x="3114706" y="6858000"/>
                </a:lnTo>
                <a:lnTo>
                  <a:pt x="1424840" y="6858000"/>
                </a:lnTo>
                <a:lnTo>
                  <a:pt x="0" y="6858000"/>
                </a:lnTo>
                <a:close/>
              </a:path>
            </a:pathLst>
          </a:custGeom>
          <a:gradFill>
            <a:gsLst>
              <a:gs pos="11000">
                <a:schemeClr val="accent1"/>
              </a:gs>
              <a:gs pos="100000">
                <a:schemeClr val="accent3"/>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Bildplatzhalter 14">
            <a:extLst>
              <a:ext uri="{FF2B5EF4-FFF2-40B4-BE49-F238E27FC236}">
                <a16:creationId xmlns:a16="http://schemas.microsoft.com/office/drawing/2014/main" id="{0E3D2C8B-C9B8-CF89-7483-EADCB0D2154A}"/>
              </a:ext>
            </a:extLst>
          </p:cNvPr>
          <p:cNvSpPr>
            <a:spLocks noGrp="1"/>
          </p:cNvSpPr>
          <p:nvPr>
            <p:ph type="pic" sz="quarter" idx="10" hasCustomPrompt="1"/>
          </p:nvPr>
        </p:nvSpPr>
        <p:spPr>
          <a:xfrm>
            <a:off x="4033865" y="0"/>
            <a:ext cx="8158134" cy="6858000"/>
          </a:xfrm>
          <a:custGeom>
            <a:avLst/>
            <a:gdLst>
              <a:gd name="connsiteX0" fmla="*/ 10888 w 8158134"/>
              <a:gd name="connsiteY0" fmla="*/ 0 h 6858000"/>
              <a:gd name="connsiteX1" fmla="*/ 8158134 w 8158134"/>
              <a:gd name="connsiteY1" fmla="*/ 0 h 6858000"/>
              <a:gd name="connsiteX2" fmla="*/ 8158134 w 8158134"/>
              <a:gd name="connsiteY2" fmla="*/ 6858000 h 6858000"/>
              <a:gd name="connsiteX3" fmla="*/ 0 w 8158134"/>
              <a:gd name="connsiteY3" fmla="*/ 6858000 h 6858000"/>
              <a:gd name="connsiteX4" fmla="*/ 2191570 w 8158134"/>
              <a:gd name="connsiteY4" fmla="*/ 3266104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58134" h="6858000">
                <a:moveTo>
                  <a:pt x="10888" y="0"/>
                </a:moveTo>
                <a:lnTo>
                  <a:pt x="8158134" y="0"/>
                </a:lnTo>
                <a:lnTo>
                  <a:pt x="8158134" y="6858000"/>
                </a:lnTo>
                <a:lnTo>
                  <a:pt x="0" y="6858000"/>
                </a:lnTo>
                <a:lnTo>
                  <a:pt x="2191570" y="3266104"/>
                </a:lnTo>
                <a:close/>
              </a:path>
            </a:pathLst>
          </a:custGeom>
          <a:solidFill>
            <a:schemeClr val="bg2"/>
          </a:solidFill>
        </p:spPr>
        <p:txBody>
          <a:bodyPr wrap="square" lIns="144000" tIns="144000" rIns="144000" bIns="144000">
            <a:noAutofit/>
          </a:bodyPr>
          <a:lstStyle>
            <a:lvl1pPr marL="0" indent="0" algn="r">
              <a:buNone/>
              <a:defRPr sz="1400"/>
            </a:lvl1pPr>
          </a:lstStyle>
          <a:p>
            <a:r>
              <a:rPr lang="en-US" dirty="0"/>
              <a:t>Please drag and drop image from folder</a:t>
            </a:r>
          </a:p>
        </p:txBody>
      </p:sp>
      <p:sp>
        <p:nvSpPr>
          <p:cNvPr id="2" name="Titel 1">
            <a:extLst>
              <a:ext uri="{FF2B5EF4-FFF2-40B4-BE49-F238E27FC236}">
                <a16:creationId xmlns:a16="http://schemas.microsoft.com/office/drawing/2014/main" id="{43AAB0E1-19E2-486E-9FA6-0A1F4F1C09D4}"/>
              </a:ext>
            </a:extLst>
          </p:cNvPr>
          <p:cNvSpPr>
            <a:spLocks noGrp="1"/>
          </p:cNvSpPr>
          <p:nvPr>
            <p:ph type="ctrTitle" hasCustomPrompt="1"/>
          </p:nvPr>
        </p:nvSpPr>
        <p:spPr>
          <a:xfrm>
            <a:off x="695324" y="4179114"/>
            <a:ext cx="3186140" cy="886397"/>
          </a:xfrm>
        </p:spPr>
        <p:txBody>
          <a:bodyPr vert="horz" wrap="square" anchor="b"/>
          <a:lstStyle>
            <a:lvl1pPr algn="l">
              <a:defRPr sz="3200">
                <a:solidFill>
                  <a:schemeClr val="bg1"/>
                </a:solidFill>
              </a:defRPr>
            </a:lvl1pPr>
          </a:lstStyle>
          <a:p>
            <a:r>
              <a:rPr lang="de-DE" dirty="0"/>
              <a:t>Title in </a:t>
            </a:r>
            <a:r>
              <a:rPr lang="de-DE" dirty="0" err="1"/>
              <a:t>two</a:t>
            </a:r>
            <a:r>
              <a:rPr lang="de-DE" dirty="0"/>
              <a:t> </a:t>
            </a:r>
            <a:r>
              <a:rPr lang="de-DE" dirty="0" err="1"/>
              <a:t>lines</a:t>
            </a:r>
            <a:r>
              <a:rPr lang="de-DE" dirty="0"/>
              <a:t>, Calibri </a:t>
            </a:r>
            <a:r>
              <a:rPr lang="de-DE" dirty="0" err="1"/>
              <a:t>Bold</a:t>
            </a:r>
            <a:r>
              <a:rPr lang="de-DE" dirty="0"/>
              <a:t>, 32pt</a:t>
            </a:r>
            <a:endParaRPr lang="en-US" dirty="0"/>
          </a:p>
        </p:txBody>
      </p:sp>
      <p:sp>
        <p:nvSpPr>
          <p:cNvPr id="3" name="Untertitel 2">
            <a:extLst>
              <a:ext uri="{FF2B5EF4-FFF2-40B4-BE49-F238E27FC236}">
                <a16:creationId xmlns:a16="http://schemas.microsoft.com/office/drawing/2014/main" id="{1D2245C3-0347-4A19-B37F-371700C8C7F8}"/>
              </a:ext>
            </a:extLst>
          </p:cNvPr>
          <p:cNvSpPr>
            <a:spLocks noGrp="1"/>
          </p:cNvSpPr>
          <p:nvPr>
            <p:ph type="subTitle" idx="1" hasCustomPrompt="1"/>
          </p:nvPr>
        </p:nvSpPr>
        <p:spPr>
          <a:xfrm>
            <a:off x="695324" y="5292725"/>
            <a:ext cx="3186140" cy="615553"/>
          </a:xfrm>
        </p:spPr>
        <p:txBody>
          <a:bodyPr wrap="square">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err="1"/>
              <a:t>Subtitle</a:t>
            </a:r>
            <a:r>
              <a:rPr lang="de-DE" dirty="0"/>
              <a:t> in </a:t>
            </a:r>
            <a:r>
              <a:rPr lang="de-DE" dirty="0" err="1"/>
              <a:t>two</a:t>
            </a:r>
            <a:r>
              <a:rPr lang="de-DE" dirty="0"/>
              <a:t> </a:t>
            </a:r>
            <a:r>
              <a:rPr lang="de-DE" dirty="0" err="1"/>
              <a:t>lines</a:t>
            </a:r>
            <a:r>
              <a:rPr lang="de-DE" dirty="0"/>
              <a:t>,</a:t>
            </a:r>
            <a:br>
              <a:rPr lang="de-DE" dirty="0"/>
            </a:br>
            <a:r>
              <a:rPr lang="de-DE" dirty="0"/>
              <a:t>Calibri Light, 20pt</a:t>
            </a:r>
            <a:endParaRPr lang="en-US" dirty="0"/>
          </a:p>
        </p:txBody>
      </p:sp>
      <p:sp>
        <p:nvSpPr>
          <p:cNvPr id="19" name="TextBox 28">
            <a:extLst>
              <a:ext uri="{FF2B5EF4-FFF2-40B4-BE49-F238E27FC236}">
                <a16:creationId xmlns:a16="http://schemas.microsoft.com/office/drawing/2014/main" id="{0F142C4B-50A7-F05E-6BAA-FAF09DC22154}"/>
              </a:ext>
            </a:extLst>
          </p:cNvPr>
          <p:cNvSpPr txBox="1"/>
          <p:nvPr userDrawn="1"/>
        </p:nvSpPr>
        <p:spPr>
          <a:xfrm>
            <a:off x="695325" y="2310804"/>
            <a:ext cx="3497811" cy="492443"/>
          </a:xfrm>
          <a:prstGeom prst="rect">
            <a:avLst/>
          </a:prstGeom>
          <a:noFill/>
        </p:spPr>
        <p:txBody>
          <a:bodyPr wrap="square" lIns="0" tIns="0" rIns="0" bIns="0" rtlCol="0">
            <a:spAutoFit/>
          </a:bodyPr>
          <a:lstStyle/>
          <a:p>
            <a:pPr algn="l"/>
            <a:r>
              <a:rPr lang="en-GB" sz="2000" b="1" dirty="0">
                <a:solidFill>
                  <a:srgbClr val="FFFFFF"/>
                </a:solidFill>
                <a:effectLst/>
                <a:latin typeface="Calibri" panose="020F0502020204030204" pitchFamily="34" charset="0"/>
              </a:rPr>
              <a:t>Explore the Kontron Group</a:t>
            </a:r>
          </a:p>
          <a:p>
            <a:pPr algn="l"/>
            <a:r>
              <a:rPr lang="en-US" sz="1200" dirty="0">
                <a:solidFill>
                  <a:srgbClr val="FFFFFF"/>
                </a:solidFill>
                <a:effectLst/>
                <a:latin typeface="Calibri Light" panose="020F0302020204030204" pitchFamily="34" charset="0"/>
              </a:rPr>
              <a:t>We are a fast-moving multinational technology leader.</a:t>
            </a:r>
            <a:endParaRPr lang="en-GB" sz="1200" dirty="0">
              <a:solidFill>
                <a:srgbClr val="FFFFFF"/>
              </a:solidFill>
              <a:effectLst/>
              <a:latin typeface="Calibri Light" panose="020F0302020204030204" pitchFamily="34" charset="0"/>
            </a:endParaRPr>
          </a:p>
        </p:txBody>
      </p:sp>
      <p:cxnSp>
        <p:nvCxnSpPr>
          <p:cNvPr id="39" name="Gerader Verbinder 38">
            <a:extLst>
              <a:ext uri="{FF2B5EF4-FFF2-40B4-BE49-F238E27FC236}">
                <a16:creationId xmlns:a16="http://schemas.microsoft.com/office/drawing/2014/main" id="{60B78CA5-DDCE-5A6F-D386-E9AEC96D2544}"/>
              </a:ext>
            </a:extLst>
          </p:cNvPr>
          <p:cNvCxnSpPr>
            <a:cxnSpLocks/>
          </p:cNvCxnSpPr>
          <p:nvPr userDrawn="1"/>
        </p:nvCxnSpPr>
        <p:spPr>
          <a:xfrm>
            <a:off x="695324" y="5179117"/>
            <a:ext cx="68961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65" name="Textplatzhalter 64">
            <a:extLst>
              <a:ext uri="{FF2B5EF4-FFF2-40B4-BE49-F238E27FC236}">
                <a16:creationId xmlns:a16="http://schemas.microsoft.com/office/drawing/2014/main" id="{C2E70C5A-7BF3-828C-FBE7-6BF5B321069E}"/>
              </a:ext>
            </a:extLst>
          </p:cNvPr>
          <p:cNvSpPr>
            <a:spLocks noGrp="1"/>
          </p:cNvSpPr>
          <p:nvPr>
            <p:ph type="body" sz="quarter" idx="11"/>
          </p:nvPr>
        </p:nvSpPr>
        <p:spPr>
          <a:xfrm>
            <a:off x="4033865" y="0"/>
            <a:ext cx="7228840" cy="6858000"/>
          </a:xfrm>
          <a:custGeom>
            <a:avLst/>
            <a:gdLst>
              <a:gd name="connsiteX0" fmla="*/ 1571902 w 7228840"/>
              <a:gd name="connsiteY0" fmla="*/ 0 h 6858000"/>
              <a:gd name="connsiteX1" fmla="*/ 7228840 w 7228840"/>
              <a:gd name="connsiteY1" fmla="*/ 0 h 6858000"/>
              <a:gd name="connsiteX2" fmla="*/ 2519932 w 7228840"/>
              <a:gd name="connsiteY2" fmla="*/ 6858000 h 6858000"/>
              <a:gd name="connsiteX3" fmla="*/ 0 w 7228840"/>
              <a:gd name="connsiteY3" fmla="*/ 6858000 h 6858000"/>
              <a:gd name="connsiteX4" fmla="*/ 2191570 w 7228840"/>
              <a:gd name="connsiteY4" fmla="*/ 3266104 h 6858000"/>
              <a:gd name="connsiteX5" fmla="*/ 734940 w 7228840"/>
              <a:gd name="connsiteY5" fmla="*/ 10844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28840" h="6858000">
                <a:moveTo>
                  <a:pt x="1571902" y="0"/>
                </a:moveTo>
                <a:lnTo>
                  <a:pt x="7228840" y="0"/>
                </a:lnTo>
                <a:lnTo>
                  <a:pt x="2519932" y="6858000"/>
                </a:lnTo>
                <a:lnTo>
                  <a:pt x="0" y="6858000"/>
                </a:lnTo>
                <a:lnTo>
                  <a:pt x="2191570" y="3266104"/>
                </a:lnTo>
                <a:lnTo>
                  <a:pt x="734940" y="1084445"/>
                </a:lnTo>
                <a:close/>
              </a:path>
            </a:pathLst>
          </a:custGeom>
          <a:solidFill>
            <a:schemeClr val="bg1">
              <a:alpha val="10000"/>
            </a:schemeClr>
          </a:solidFill>
        </p:spPr>
        <p:txBody>
          <a:bodyPr wrap="square">
            <a:noAutofit/>
          </a:bodyPr>
          <a:lstStyle>
            <a:lvl1pPr marL="0" indent="0">
              <a:buNone/>
              <a:defRPr>
                <a:solidFill>
                  <a:schemeClr val="tx1">
                    <a:alpha val="0"/>
                  </a:schemeClr>
                </a:solidFill>
              </a:defRPr>
            </a:lvl1pPr>
            <a:lvl2pPr marL="216000" indent="0">
              <a:buNone/>
              <a:defRPr/>
            </a:lvl2pPr>
            <a:lvl3pPr marL="432000" indent="0">
              <a:buNone/>
              <a:defRPr/>
            </a:lvl3pPr>
            <a:lvl4pPr marL="648000" indent="0">
              <a:buNone/>
              <a:defRPr/>
            </a:lvl4pPr>
            <a:lvl5pPr marL="864000" indent="0">
              <a:buNone/>
              <a:defRPr/>
            </a:lvl5pPr>
          </a:lstStyle>
          <a:p>
            <a:pPr lvl="0"/>
            <a:endParaRPr lang="en-US" dirty="0"/>
          </a:p>
        </p:txBody>
      </p:sp>
      <p:grpSp>
        <p:nvGrpSpPr>
          <p:cNvPr id="4" name="Gruppieren 3">
            <a:extLst>
              <a:ext uri="{FF2B5EF4-FFF2-40B4-BE49-F238E27FC236}">
                <a16:creationId xmlns:a16="http://schemas.microsoft.com/office/drawing/2014/main" id="{ECC502E6-8242-B780-C436-130C2AD086D4}"/>
              </a:ext>
            </a:extLst>
          </p:cNvPr>
          <p:cNvGrpSpPr/>
          <p:nvPr userDrawn="1"/>
        </p:nvGrpSpPr>
        <p:grpSpPr>
          <a:xfrm>
            <a:off x="695324" y="1628872"/>
            <a:ext cx="2998881" cy="568325"/>
            <a:chOff x="10407695" y="441325"/>
            <a:chExt cx="1088979" cy="206375"/>
          </a:xfrm>
          <a:solidFill>
            <a:schemeClr val="bg1"/>
          </a:solidFill>
        </p:grpSpPr>
        <p:sp>
          <p:nvSpPr>
            <p:cNvPr id="5" name="Freeform: Shape 10">
              <a:extLst>
                <a:ext uri="{FF2B5EF4-FFF2-40B4-BE49-F238E27FC236}">
                  <a16:creationId xmlns:a16="http://schemas.microsoft.com/office/drawing/2014/main" id="{4A30E89C-4A12-B2C4-31BC-BCC567B1574E}"/>
                </a:ext>
              </a:extLst>
            </p:cNvPr>
            <p:cNvSpPr/>
            <p:nvPr/>
          </p:nvSpPr>
          <p:spPr>
            <a:xfrm>
              <a:off x="10407695" y="441325"/>
              <a:ext cx="54179" cy="202059"/>
            </a:xfrm>
            <a:custGeom>
              <a:avLst/>
              <a:gdLst>
                <a:gd name="connsiteX0" fmla="*/ 92671 w 92670"/>
                <a:gd name="connsiteY0" fmla="*/ 0 h 338478"/>
                <a:gd name="connsiteX1" fmla="*/ 0 w 92670"/>
                <a:gd name="connsiteY1" fmla="*/ 0 h 338478"/>
                <a:gd name="connsiteX2" fmla="*/ 0 w 92670"/>
                <a:gd name="connsiteY2" fmla="*/ 338478 h 338478"/>
                <a:gd name="connsiteX3" fmla="*/ 92671 w 92670"/>
                <a:gd name="connsiteY3" fmla="*/ 217546 h 338478"/>
              </a:gdLst>
              <a:ahLst/>
              <a:cxnLst>
                <a:cxn ang="0">
                  <a:pos x="connsiteX0" y="connsiteY0"/>
                </a:cxn>
                <a:cxn ang="0">
                  <a:pos x="connsiteX1" y="connsiteY1"/>
                </a:cxn>
                <a:cxn ang="0">
                  <a:pos x="connsiteX2" y="connsiteY2"/>
                </a:cxn>
                <a:cxn ang="0">
                  <a:pos x="connsiteX3" y="connsiteY3"/>
                </a:cxn>
              </a:cxnLst>
              <a:rect l="l" t="t" r="r" b="b"/>
              <a:pathLst>
                <a:path w="92670" h="338478">
                  <a:moveTo>
                    <a:pt x="92671" y="0"/>
                  </a:moveTo>
                  <a:lnTo>
                    <a:pt x="0" y="0"/>
                  </a:lnTo>
                  <a:lnTo>
                    <a:pt x="0" y="338478"/>
                  </a:lnTo>
                  <a:lnTo>
                    <a:pt x="92671" y="217546"/>
                  </a:lnTo>
                  <a:close/>
                </a:path>
              </a:pathLst>
            </a:custGeom>
            <a:grpFill/>
            <a:ln w="6540" cap="flat">
              <a:noFill/>
              <a:prstDash val="solid"/>
              <a:miter/>
            </a:ln>
          </p:spPr>
          <p:txBody>
            <a:bodyPr rtlCol="0" anchor="ctr"/>
            <a:lstStyle/>
            <a:p>
              <a:endParaRPr lang="en-GB"/>
            </a:p>
          </p:txBody>
        </p:sp>
        <p:sp>
          <p:nvSpPr>
            <p:cNvPr id="6" name="Freeform: Shape 11">
              <a:extLst>
                <a:ext uri="{FF2B5EF4-FFF2-40B4-BE49-F238E27FC236}">
                  <a16:creationId xmlns:a16="http://schemas.microsoft.com/office/drawing/2014/main" id="{1557FFF4-C542-57AA-48C6-9BD8E041A8A7}"/>
                </a:ext>
              </a:extLst>
            </p:cNvPr>
            <p:cNvSpPr/>
            <p:nvPr/>
          </p:nvSpPr>
          <p:spPr>
            <a:xfrm>
              <a:off x="10461874" y="441325"/>
              <a:ext cx="1034800" cy="206375"/>
            </a:xfrm>
            <a:custGeom>
              <a:avLst/>
              <a:gdLst>
                <a:gd name="connsiteX0" fmla="*/ 196515 w 1769954"/>
                <a:gd name="connsiteY0" fmla="*/ 92671 h 345708"/>
                <a:gd name="connsiteX1" fmla="*/ 99243 w 1769954"/>
                <a:gd name="connsiteY1" fmla="*/ 217546 h 345708"/>
                <a:gd name="connsiteX2" fmla="*/ 194543 w 1769954"/>
                <a:gd name="connsiteY2" fmla="*/ 338478 h 345708"/>
                <a:gd name="connsiteX3" fmla="*/ 84784 w 1769954"/>
                <a:gd name="connsiteY3" fmla="*/ 338478 h 345708"/>
                <a:gd name="connsiteX4" fmla="*/ 0 w 1769954"/>
                <a:gd name="connsiteY4" fmla="*/ 217546 h 345708"/>
                <a:gd name="connsiteX5" fmla="*/ 95300 w 1769954"/>
                <a:gd name="connsiteY5" fmla="*/ 93328 h 345708"/>
                <a:gd name="connsiteX6" fmla="*/ 196515 w 1769954"/>
                <a:gd name="connsiteY6" fmla="*/ 92671 h 345708"/>
                <a:gd name="connsiteX7" fmla="*/ 338478 w 1769954"/>
                <a:gd name="connsiteY7" fmla="*/ 85441 h 345708"/>
                <a:gd name="connsiteX8" fmla="*/ 195857 w 1769954"/>
                <a:gd name="connsiteY8" fmla="*/ 215575 h 345708"/>
                <a:gd name="connsiteX9" fmla="*/ 338478 w 1769954"/>
                <a:gd name="connsiteY9" fmla="*/ 345708 h 345708"/>
                <a:gd name="connsiteX10" fmla="*/ 481100 w 1769954"/>
                <a:gd name="connsiteY10" fmla="*/ 215575 h 345708"/>
                <a:gd name="connsiteX11" fmla="*/ 338478 w 1769954"/>
                <a:gd name="connsiteY11" fmla="*/ 85441 h 345708"/>
                <a:gd name="connsiteX12" fmla="*/ 291157 w 1769954"/>
                <a:gd name="connsiteY12" fmla="*/ 215575 h 345708"/>
                <a:gd name="connsiteX13" fmla="*/ 338478 w 1769954"/>
                <a:gd name="connsiteY13" fmla="*/ 139335 h 345708"/>
                <a:gd name="connsiteX14" fmla="*/ 385800 w 1769954"/>
                <a:gd name="connsiteY14" fmla="*/ 215575 h 345708"/>
                <a:gd name="connsiteX15" fmla="*/ 338478 w 1769954"/>
                <a:gd name="connsiteY15" fmla="*/ 291814 h 345708"/>
                <a:gd name="connsiteX16" fmla="*/ 291157 w 1769954"/>
                <a:gd name="connsiteY16" fmla="*/ 215575 h 345708"/>
                <a:gd name="connsiteX17" fmla="*/ 683529 w 1769954"/>
                <a:gd name="connsiteY17" fmla="*/ 85441 h 345708"/>
                <a:gd name="connsiteX18" fmla="*/ 606632 w 1769954"/>
                <a:gd name="connsiteY18" fmla="*/ 119618 h 345708"/>
                <a:gd name="connsiteX19" fmla="*/ 605318 w 1769954"/>
                <a:gd name="connsiteY19" fmla="*/ 92671 h 345708"/>
                <a:gd name="connsiteX20" fmla="*/ 513962 w 1769954"/>
                <a:gd name="connsiteY20" fmla="*/ 92671 h 345708"/>
                <a:gd name="connsiteX21" fmla="*/ 513962 w 1769954"/>
                <a:gd name="connsiteY21" fmla="*/ 337821 h 345708"/>
                <a:gd name="connsiteX22" fmla="*/ 606632 w 1769954"/>
                <a:gd name="connsiteY22" fmla="*/ 337821 h 345708"/>
                <a:gd name="connsiteX23" fmla="*/ 606632 w 1769954"/>
                <a:gd name="connsiteY23" fmla="*/ 197172 h 345708"/>
                <a:gd name="connsiteX24" fmla="*/ 646724 w 1769954"/>
                <a:gd name="connsiteY24" fmla="*/ 143935 h 345708"/>
                <a:gd name="connsiteX25" fmla="*/ 682215 w 1769954"/>
                <a:gd name="connsiteY25" fmla="*/ 193886 h 345708"/>
                <a:gd name="connsiteX26" fmla="*/ 682215 w 1769954"/>
                <a:gd name="connsiteY26" fmla="*/ 337821 h 345708"/>
                <a:gd name="connsiteX27" fmla="*/ 774886 w 1769954"/>
                <a:gd name="connsiteY27" fmla="*/ 337821 h 345708"/>
                <a:gd name="connsiteX28" fmla="*/ 774886 w 1769954"/>
                <a:gd name="connsiteY28" fmla="*/ 173511 h 345708"/>
                <a:gd name="connsiteX29" fmla="*/ 683529 w 1769954"/>
                <a:gd name="connsiteY29" fmla="*/ 85441 h 345708"/>
                <a:gd name="connsiteX30" fmla="*/ 815635 w 1769954"/>
                <a:gd name="connsiteY30" fmla="*/ 260924 h 345708"/>
                <a:gd name="connsiteX31" fmla="*/ 912249 w 1769954"/>
                <a:gd name="connsiteY31" fmla="*/ 345051 h 345708"/>
                <a:gd name="connsiteX32" fmla="*/ 962199 w 1769954"/>
                <a:gd name="connsiteY32" fmla="*/ 340450 h 345708"/>
                <a:gd name="connsiteX33" fmla="*/ 962199 w 1769954"/>
                <a:gd name="connsiteY33" fmla="*/ 285242 h 345708"/>
                <a:gd name="connsiteX34" fmla="*/ 926708 w 1769954"/>
                <a:gd name="connsiteY34" fmla="*/ 286556 h 345708"/>
                <a:gd name="connsiteX35" fmla="*/ 908963 w 1769954"/>
                <a:gd name="connsiteY35" fmla="*/ 248437 h 345708"/>
                <a:gd name="connsiteX36" fmla="*/ 908963 w 1769954"/>
                <a:gd name="connsiteY36" fmla="*/ 151165 h 345708"/>
                <a:gd name="connsiteX37" fmla="*/ 962856 w 1769954"/>
                <a:gd name="connsiteY37" fmla="*/ 151165 h 345708"/>
                <a:gd name="connsiteX38" fmla="*/ 962856 w 1769954"/>
                <a:gd name="connsiteY38" fmla="*/ 93328 h 345708"/>
                <a:gd name="connsiteX39" fmla="*/ 908963 w 1769954"/>
                <a:gd name="connsiteY39" fmla="*/ 93328 h 345708"/>
                <a:gd name="connsiteX40" fmla="*/ 908963 w 1769954"/>
                <a:gd name="connsiteY40" fmla="*/ 0 h 345708"/>
                <a:gd name="connsiteX41" fmla="*/ 816292 w 1769954"/>
                <a:gd name="connsiteY41" fmla="*/ 120932 h 345708"/>
                <a:gd name="connsiteX42" fmla="*/ 815635 w 1769954"/>
                <a:gd name="connsiteY42" fmla="*/ 260924 h 345708"/>
                <a:gd name="connsiteX43" fmla="*/ 1097591 w 1769954"/>
                <a:gd name="connsiteY43" fmla="*/ 92671 h 345708"/>
                <a:gd name="connsiteX44" fmla="*/ 1006234 w 1769954"/>
                <a:gd name="connsiteY44" fmla="*/ 92671 h 345708"/>
                <a:gd name="connsiteX45" fmla="*/ 1006234 w 1769954"/>
                <a:gd name="connsiteY45" fmla="*/ 337821 h 345708"/>
                <a:gd name="connsiteX46" fmla="*/ 1098905 w 1769954"/>
                <a:gd name="connsiteY46" fmla="*/ 337821 h 345708"/>
                <a:gd name="connsiteX47" fmla="*/ 1098905 w 1769954"/>
                <a:gd name="connsiteY47" fmla="*/ 239235 h 345708"/>
                <a:gd name="connsiteX48" fmla="*/ 1162657 w 1769954"/>
                <a:gd name="connsiteY48" fmla="*/ 162995 h 345708"/>
                <a:gd name="connsiteX49" fmla="*/ 1182374 w 1769954"/>
                <a:gd name="connsiteY49" fmla="*/ 163653 h 345708"/>
                <a:gd name="connsiteX50" fmla="*/ 1182374 w 1769954"/>
                <a:gd name="connsiteY50" fmla="*/ 85441 h 345708"/>
                <a:gd name="connsiteX51" fmla="*/ 1100219 w 1769954"/>
                <a:gd name="connsiteY51" fmla="*/ 138678 h 345708"/>
                <a:gd name="connsiteX52" fmla="*/ 1099562 w 1769954"/>
                <a:gd name="connsiteY52" fmla="*/ 138678 h 345708"/>
                <a:gd name="connsiteX53" fmla="*/ 1097591 w 1769954"/>
                <a:gd name="connsiteY53" fmla="*/ 92671 h 345708"/>
                <a:gd name="connsiteX54" fmla="*/ 1338140 w 1769954"/>
                <a:gd name="connsiteY54" fmla="*/ 85441 h 345708"/>
                <a:gd name="connsiteX55" fmla="*/ 1195519 w 1769954"/>
                <a:gd name="connsiteY55" fmla="*/ 215575 h 345708"/>
                <a:gd name="connsiteX56" fmla="*/ 1338140 w 1769954"/>
                <a:gd name="connsiteY56" fmla="*/ 345708 h 345708"/>
                <a:gd name="connsiteX57" fmla="*/ 1480761 w 1769954"/>
                <a:gd name="connsiteY57" fmla="*/ 215575 h 345708"/>
                <a:gd name="connsiteX58" fmla="*/ 1338140 w 1769954"/>
                <a:gd name="connsiteY58" fmla="*/ 85441 h 345708"/>
                <a:gd name="connsiteX59" fmla="*/ 1290819 w 1769954"/>
                <a:gd name="connsiteY59" fmla="*/ 215575 h 345708"/>
                <a:gd name="connsiteX60" fmla="*/ 1338140 w 1769954"/>
                <a:gd name="connsiteY60" fmla="*/ 139335 h 345708"/>
                <a:gd name="connsiteX61" fmla="*/ 1385461 w 1769954"/>
                <a:gd name="connsiteY61" fmla="*/ 215575 h 345708"/>
                <a:gd name="connsiteX62" fmla="*/ 1338140 w 1769954"/>
                <a:gd name="connsiteY62" fmla="*/ 291814 h 345708"/>
                <a:gd name="connsiteX63" fmla="*/ 1290819 w 1769954"/>
                <a:gd name="connsiteY63" fmla="*/ 215575 h 345708"/>
                <a:gd name="connsiteX64" fmla="*/ 1678590 w 1769954"/>
                <a:gd name="connsiteY64" fmla="*/ 85441 h 345708"/>
                <a:gd name="connsiteX65" fmla="*/ 1601693 w 1769954"/>
                <a:gd name="connsiteY65" fmla="*/ 119618 h 345708"/>
                <a:gd name="connsiteX66" fmla="*/ 1600379 w 1769954"/>
                <a:gd name="connsiteY66" fmla="*/ 92671 h 345708"/>
                <a:gd name="connsiteX67" fmla="*/ 1509023 w 1769954"/>
                <a:gd name="connsiteY67" fmla="*/ 92671 h 345708"/>
                <a:gd name="connsiteX68" fmla="*/ 1509023 w 1769954"/>
                <a:gd name="connsiteY68" fmla="*/ 337821 h 345708"/>
                <a:gd name="connsiteX69" fmla="*/ 1601693 w 1769954"/>
                <a:gd name="connsiteY69" fmla="*/ 337821 h 345708"/>
                <a:gd name="connsiteX70" fmla="*/ 1601693 w 1769954"/>
                <a:gd name="connsiteY70" fmla="*/ 197829 h 345708"/>
                <a:gd name="connsiteX71" fmla="*/ 1641785 w 1769954"/>
                <a:gd name="connsiteY71" fmla="*/ 144593 h 345708"/>
                <a:gd name="connsiteX72" fmla="*/ 1677276 w 1769954"/>
                <a:gd name="connsiteY72" fmla="*/ 194543 h 345708"/>
                <a:gd name="connsiteX73" fmla="*/ 1677276 w 1769954"/>
                <a:gd name="connsiteY73" fmla="*/ 338478 h 345708"/>
                <a:gd name="connsiteX74" fmla="*/ 1769947 w 1769954"/>
                <a:gd name="connsiteY74" fmla="*/ 338478 h 345708"/>
                <a:gd name="connsiteX75" fmla="*/ 1769947 w 1769954"/>
                <a:gd name="connsiteY75" fmla="*/ 174169 h 345708"/>
                <a:gd name="connsiteX76" fmla="*/ 1678590 w 1769954"/>
                <a:gd name="connsiteY76" fmla="*/ 85441 h 34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69954" h="345708">
                  <a:moveTo>
                    <a:pt x="196515" y="92671"/>
                  </a:moveTo>
                  <a:lnTo>
                    <a:pt x="99243" y="217546"/>
                  </a:lnTo>
                  <a:lnTo>
                    <a:pt x="194543" y="338478"/>
                  </a:lnTo>
                  <a:lnTo>
                    <a:pt x="84784" y="338478"/>
                  </a:lnTo>
                  <a:lnTo>
                    <a:pt x="0" y="217546"/>
                  </a:lnTo>
                  <a:lnTo>
                    <a:pt x="95300" y="93328"/>
                  </a:lnTo>
                  <a:lnTo>
                    <a:pt x="196515" y="92671"/>
                  </a:lnTo>
                  <a:close/>
                  <a:moveTo>
                    <a:pt x="338478" y="85441"/>
                  </a:moveTo>
                  <a:cubicBezTo>
                    <a:pt x="261581" y="85441"/>
                    <a:pt x="195857" y="124876"/>
                    <a:pt x="195857" y="215575"/>
                  </a:cubicBezTo>
                  <a:cubicBezTo>
                    <a:pt x="195857" y="306274"/>
                    <a:pt x="261581" y="345708"/>
                    <a:pt x="338478" y="345708"/>
                  </a:cubicBezTo>
                  <a:cubicBezTo>
                    <a:pt x="415376" y="345708"/>
                    <a:pt x="481100" y="306274"/>
                    <a:pt x="481100" y="215575"/>
                  </a:cubicBezTo>
                  <a:cubicBezTo>
                    <a:pt x="481757" y="125533"/>
                    <a:pt x="415376" y="85441"/>
                    <a:pt x="338478" y="85441"/>
                  </a:cubicBezTo>
                  <a:close/>
                  <a:moveTo>
                    <a:pt x="291157" y="215575"/>
                  </a:moveTo>
                  <a:cubicBezTo>
                    <a:pt x="291157" y="180741"/>
                    <a:pt x="299701" y="139335"/>
                    <a:pt x="338478" y="139335"/>
                  </a:cubicBezTo>
                  <a:cubicBezTo>
                    <a:pt x="377256" y="139335"/>
                    <a:pt x="385800" y="180741"/>
                    <a:pt x="385800" y="215575"/>
                  </a:cubicBezTo>
                  <a:cubicBezTo>
                    <a:pt x="385800" y="250408"/>
                    <a:pt x="377256" y="291814"/>
                    <a:pt x="338478" y="291814"/>
                  </a:cubicBezTo>
                  <a:cubicBezTo>
                    <a:pt x="299701" y="291814"/>
                    <a:pt x="291157" y="250408"/>
                    <a:pt x="291157" y="215575"/>
                  </a:cubicBezTo>
                  <a:close/>
                  <a:moveTo>
                    <a:pt x="683529" y="85441"/>
                  </a:moveTo>
                  <a:cubicBezTo>
                    <a:pt x="651982" y="85441"/>
                    <a:pt x="627664" y="95300"/>
                    <a:pt x="606632" y="119618"/>
                  </a:cubicBezTo>
                  <a:lnTo>
                    <a:pt x="605318" y="92671"/>
                  </a:lnTo>
                  <a:lnTo>
                    <a:pt x="513962" y="92671"/>
                  </a:lnTo>
                  <a:lnTo>
                    <a:pt x="513962" y="337821"/>
                  </a:lnTo>
                  <a:lnTo>
                    <a:pt x="606632" y="337821"/>
                  </a:lnTo>
                  <a:lnTo>
                    <a:pt x="606632" y="197172"/>
                  </a:lnTo>
                  <a:cubicBezTo>
                    <a:pt x="606632" y="194543"/>
                    <a:pt x="600717" y="143935"/>
                    <a:pt x="646724" y="143935"/>
                  </a:cubicBezTo>
                  <a:cubicBezTo>
                    <a:pt x="675643" y="143935"/>
                    <a:pt x="681558" y="169568"/>
                    <a:pt x="682215" y="193886"/>
                  </a:cubicBezTo>
                  <a:lnTo>
                    <a:pt x="682215" y="337821"/>
                  </a:lnTo>
                  <a:lnTo>
                    <a:pt x="774886" y="337821"/>
                  </a:lnTo>
                  <a:lnTo>
                    <a:pt x="774886" y="173511"/>
                  </a:lnTo>
                  <a:cubicBezTo>
                    <a:pt x="774886" y="119618"/>
                    <a:pt x="736109" y="85441"/>
                    <a:pt x="683529" y="85441"/>
                  </a:cubicBezTo>
                  <a:close/>
                  <a:moveTo>
                    <a:pt x="815635" y="260924"/>
                  </a:moveTo>
                  <a:cubicBezTo>
                    <a:pt x="811034" y="336507"/>
                    <a:pt x="849154" y="345051"/>
                    <a:pt x="912249" y="345051"/>
                  </a:cubicBezTo>
                  <a:cubicBezTo>
                    <a:pt x="926051" y="345051"/>
                    <a:pt x="941167" y="344394"/>
                    <a:pt x="962199" y="340450"/>
                  </a:cubicBezTo>
                  <a:lnTo>
                    <a:pt x="962199" y="285242"/>
                  </a:lnTo>
                  <a:cubicBezTo>
                    <a:pt x="951683" y="286556"/>
                    <a:pt x="938538" y="286556"/>
                    <a:pt x="926708" y="286556"/>
                  </a:cubicBezTo>
                  <a:cubicBezTo>
                    <a:pt x="905019" y="286556"/>
                    <a:pt x="908963" y="255009"/>
                    <a:pt x="908963" y="248437"/>
                  </a:cubicBezTo>
                  <a:lnTo>
                    <a:pt x="908963" y="151165"/>
                  </a:lnTo>
                  <a:lnTo>
                    <a:pt x="962856" y="151165"/>
                  </a:lnTo>
                  <a:lnTo>
                    <a:pt x="962856" y="93328"/>
                  </a:lnTo>
                  <a:lnTo>
                    <a:pt x="908963" y="93328"/>
                  </a:lnTo>
                  <a:lnTo>
                    <a:pt x="908963" y="0"/>
                  </a:lnTo>
                  <a:lnTo>
                    <a:pt x="816292" y="120932"/>
                  </a:lnTo>
                  <a:lnTo>
                    <a:pt x="815635" y="260924"/>
                  </a:lnTo>
                  <a:close/>
                  <a:moveTo>
                    <a:pt x="1097591" y="92671"/>
                  </a:moveTo>
                  <a:lnTo>
                    <a:pt x="1006234" y="92671"/>
                  </a:lnTo>
                  <a:lnTo>
                    <a:pt x="1006234" y="337821"/>
                  </a:lnTo>
                  <a:lnTo>
                    <a:pt x="1098905" y="337821"/>
                  </a:lnTo>
                  <a:lnTo>
                    <a:pt x="1098905" y="239235"/>
                  </a:lnTo>
                  <a:cubicBezTo>
                    <a:pt x="1097591" y="192571"/>
                    <a:pt x="1114022" y="163653"/>
                    <a:pt x="1162657" y="162995"/>
                  </a:cubicBezTo>
                  <a:cubicBezTo>
                    <a:pt x="1169230" y="162995"/>
                    <a:pt x="1175145" y="162995"/>
                    <a:pt x="1182374" y="163653"/>
                  </a:cubicBezTo>
                  <a:lnTo>
                    <a:pt x="1182374" y="85441"/>
                  </a:lnTo>
                  <a:cubicBezTo>
                    <a:pt x="1141626" y="84784"/>
                    <a:pt x="1110735" y="97929"/>
                    <a:pt x="1100219" y="138678"/>
                  </a:cubicBezTo>
                  <a:lnTo>
                    <a:pt x="1099562" y="138678"/>
                  </a:lnTo>
                  <a:lnTo>
                    <a:pt x="1097591" y="92671"/>
                  </a:lnTo>
                  <a:close/>
                  <a:moveTo>
                    <a:pt x="1338140" y="85441"/>
                  </a:moveTo>
                  <a:cubicBezTo>
                    <a:pt x="1261243" y="85441"/>
                    <a:pt x="1195519" y="124876"/>
                    <a:pt x="1195519" y="215575"/>
                  </a:cubicBezTo>
                  <a:cubicBezTo>
                    <a:pt x="1195519" y="306274"/>
                    <a:pt x="1261243" y="345708"/>
                    <a:pt x="1338140" y="345708"/>
                  </a:cubicBezTo>
                  <a:cubicBezTo>
                    <a:pt x="1415037" y="345708"/>
                    <a:pt x="1480761" y="306274"/>
                    <a:pt x="1480761" y="215575"/>
                  </a:cubicBezTo>
                  <a:cubicBezTo>
                    <a:pt x="1480761" y="124876"/>
                    <a:pt x="1414380" y="85441"/>
                    <a:pt x="1338140" y="85441"/>
                  </a:cubicBezTo>
                  <a:close/>
                  <a:moveTo>
                    <a:pt x="1290819" y="215575"/>
                  </a:moveTo>
                  <a:cubicBezTo>
                    <a:pt x="1290819" y="180741"/>
                    <a:pt x="1299363" y="139335"/>
                    <a:pt x="1338140" y="139335"/>
                  </a:cubicBezTo>
                  <a:cubicBezTo>
                    <a:pt x="1376917" y="139335"/>
                    <a:pt x="1385461" y="180741"/>
                    <a:pt x="1385461" y="215575"/>
                  </a:cubicBezTo>
                  <a:cubicBezTo>
                    <a:pt x="1385461" y="250408"/>
                    <a:pt x="1376917" y="291814"/>
                    <a:pt x="1338140" y="291814"/>
                  </a:cubicBezTo>
                  <a:cubicBezTo>
                    <a:pt x="1298706" y="291814"/>
                    <a:pt x="1290819" y="250408"/>
                    <a:pt x="1290819" y="215575"/>
                  </a:cubicBezTo>
                  <a:close/>
                  <a:moveTo>
                    <a:pt x="1678590" y="85441"/>
                  </a:moveTo>
                  <a:cubicBezTo>
                    <a:pt x="1647043" y="85441"/>
                    <a:pt x="1622725" y="95300"/>
                    <a:pt x="1601693" y="119618"/>
                  </a:cubicBezTo>
                  <a:lnTo>
                    <a:pt x="1600379" y="92671"/>
                  </a:lnTo>
                  <a:lnTo>
                    <a:pt x="1509023" y="92671"/>
                  </a:lnTo>
                  <a:lnTo>
                    <a:pt x="1509023" y="337821"/>
                  </a:lnTo>
                  <a:lnTo>
                    <a:pt x="1601693" y="337821"/>
                  </a:lnTo>
                  <a:lnTo>
                    <a:pt x="1601693" y="197829"/>
                  </a:lnTo>
                  <a:cubicBezTo>
                    <a:pt x="1601693" y="195200"/>
                    <a:pt x="1595778" y="144593"/>
                    <a:pt x="1641785" y="144593"/>
                  </a:cubicBezTo>
                  <a:cubicBezTo>
                    <a:pt x="1670704" y="144593"/>
                    <a:pt x="1676619" y="170225"/>
                    <a:pt x="1677276" y="194543"/>
                  </a:cubicBezTo>
                  <a:lnTo>
                    <a:pt x="1677276" y="338478"/>
                  </a:lnTo>
                  <a:lnTo>
                    <a:pt x="1769947" y="338478"/>
                  </a:lnTo>
                  <a:lnTo>
                    <a:pt x="1769947" y="174169"/>
                  </a:lnTo>
                  <a:cubicBezTo>
                    <a:pt x="1770604" y="119618"/>
                    <a:pt x="1731170" y="85441"/>
                    <a:pt x="1678590" y="85441"/>
                  </a:cubicBezTo>
                  <a:close/>
                </a:path>
              </a:pathLst>
            </a:custGeom>
            <a:grpFill/>
            <a:ln w="6540"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16925916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gradient/arrow">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2008705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Freihandform: Form 18">
            <a:extLst>
              <a:ext uri="{FF2B5EF4-FFF2-40B4-BE49-F238E27FC236}">
                <a16:creationId xmlns:a16="http://schemas.microsoft.com/office/drawing/2014/main" id="{05FE5497-C7E5-75BB-64B1-57AAF06134BB}"/>
              </a:ext>
            </a:extLst>
          </p:cNvPr>
          <p:cNvSpPr/>
          <p:nvPr userDrawn="1"/>
        </p:nvSpPr>
        <p:spPr>
          <a:xfrm flipH="1">
            <a:off x="1754125" y="0"/>
            <a:ext cx="7876733" cy="6858000"/>
          </a:xfrm>
          <a:custGeom>
            <a:avLst/>
            <a:gdLst>
              <a:gd name="connsiteX0" fmla="*/ 7876733 w 7876733"/>
              <a:gd name="connsiteY0" fmla="*/ 0 h 6858000"/>
              <a:gd name="connsiteX1" fmla="*/ 3352132 w 7876733"/>
              <a:gd name="connsiteY1" fmla="*/ 0 h 6858000"/>
              <a:gd name="connsiteX2" fmla="*/ 0 w 7876733"/>
              <a:gd name="connsiteY2" fmla="*/ 4461366 h 6858000"/>
              <a:gd name="connsiteX3" fmla="*/ 1645601 w 7876733"/>
              <a:gd name="connsiteY3" fmla="*/ 6858000 h 6858000"/>
              <a:gd name="connsiteX4" fmla="*/ 6322952 w 7876733"/>
              <a:gd name="connsiteY4" fmla="*/ 6858000 h 6858000"/>
              <a:gd name="connsiteX5" fmla="*/ 4473258 w 7876733"/>
              <a:gd name="connsiteY5" fmla="*/ 44613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6733" h="6858000">
                <a:moveTo>
                  <a:pt x="7876733" y="0"/>
                </a:moveTo>
                <a:lnTo>
                  <a:pt x="3352132" y="0"/>
                </a:lnTo>
                <a:lnTo>
                  <a:pt x="0" y="4461366"/>
                </a:lnTo>
                <a:lnTo>
                  <a:pt x="1645601" y="6858000"/>
                </a:lnTo>
                <a:lnTo>
                  <a:pt x="6322952" y="6858000"/>
                </a:lnTo>
                <a:lnTo>
                  <a:pt x="4473258" y="4461366"/>
                </a:lnTo>
                <a:close/>
              </a:path>
            </a:pathLst>
          </a:custGeom>
          <a:solidFill>
            <a:schemeClr val="bg2">
              <a:alpha val="45000"/>
            </a:schemeClr>
          </a:solidFill>
          <a:ln w="6540" cap="flat">
            <a:noFill/>
            <a:prstDash val="solid"/>
            <a:miter/>
          </a:ln>
        </p:spPr>
        <p:txBody>
          <a:bodyPr wrap="square" rtlCol="0" anchor="ctr">
            <a:noAutofit/>
          </a:bodyPr>
          <a:lstStyle/>
          <a:p>
            <a:endParaRPr lang="en-GB" dirty="0"/>
          </a:p>
        </p:txBody>
      </p:sp>
      <p:sp>
        <p:nvSpPr>
          <p:cNvPr id="14" name="Freihandform: Form 13">
            <a:extLst>
              <a:ext uri="{FF2B5EF4-FFF2-40B4-BE49-F238E27FC236}">
                <a16:creationId xmlns:a16="http://schemas.microsoft.com/office/drawing/2014/main" id="{55F5D3BA-7765-4777-5C46-26EFE8E737BD}"/>
              </a:ext>
            </a:extLst>
          </p:cNvPr>
          <p:cNvSpPr>
            <a:spLocks/>
          </p:cNvSpPr>
          <p:nvPr userDrawn="1"/>
        </p:nvSpPr>
        <p:spPr>
          <a:xfrm>
            <a:off x="1" y="6449104"/>
            <a:ext cx="11221821" cy="408897"/>
          </a:xfrm>
          <a:custGeom>
            <a:avLst/>
            <a:gdLst>
              <a:gd name="connsiteX0" fmla="*/ 0 w 11221821"/>
              <a:gd name="connsiteY0" fmla="*/ 0 h 408897"/>
              <a:gd name="connsiteX1" fmla="*/ 2901161 w 11221821"/>
              <a:gd name="connsiteY1" fmla="*/ 0 h 408897"/>
              <a:gd name="connsiteX2" fmla="*/ 7380716 w 11221821"/>
              <a:gd name="connsiteY2" fmla="*/ 0 h 408897"/>
              <a:gd name="connsiteX3" fmla="*/ 10922202 w 11221821"/>
              <a:gd name="connsiteY3" fmla="*/ 0 h 408897"/>
              <a:gd name="connsiteX4" fmla="*/ 11221821 w 11221821"/>
              <a:gd name="connsiteY4" fmla="*/ 408897 h 408897"/>
              <a:gd name="connsiteX5" fmla="*/ 0 w 11221821"/>
              <a:gd name="connsiteY5" fmla="*/ 408897 h 40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1821" h="408897">
                <a:moveTo>
                  <a:pt x="0" y="0"/>
                </a:moveTo>
                <a:lnTo>
                  <a:pt x="2901161" y="0"/>
                </a:lnTo>
                <a:lnTo>
                  <a:pt x="7380716" y="0"/>
                </a:lnTo>
                <a:lnTo>
                  <a:pt x="10922202" y="0"/>
                </a:lnTo>
                <a:lnTo>
                  <a:pt x="11221821" y="408897"/>
                </a:lnTo>
                <a:lnTo>
                  <a:pt x="0" y="408897"/>
                </a:lnTo>
                <a:close/>
              </a:path>
            </a:pathLst>
          </a:custGeom>
          <a:gradFill>
            <a:gsLst>
              <a:gs pos="45000">
                <a:schemeClr val="accent1"/>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el 1">
            <a:extLst>
              <a:ext uri="{FF2B5EF4-FFF2-40B4-BE49-F238E27FC236}">
                <a16:creationId xmlns:a16="http://schemas.microsoft.com/office/drawing/2014/main" id="{CDA4FE97-9D3F-4806-826F-04FA53127EE8}"/>
              </a:ext>
            </a:extLst>
          </p:cNvPr>
          <p:cNvSpPr>
            <a:spLocks noGrp="1"/>
          </p:cNvSpPr>
          <p:nvPr>
            <p:ph type="title" hasCustomPrompt="1"/>
          </p:nvPr>
        </p:nvSpPr>
        <p:spPr/>
        <p:txBody>
          <a:bodyPr vert="horz"/>
          <a:lstStyle/>
          <a:p>
            <a:r>
              <a:rPr lang="de-DE" dirty="0"/>
              <a:t>Title, Calibri </a:t>
            </a:r>
            <a:r>
              <a:rPr lang="de-DE" dirty="0" err="1"/>
              <a:t>Bold</a:t>
            </a:r>
            <a:r>
              <a:rPr lang="de-DE" dirty="0"/>
              <a:t>, 32pt</a:t>
            </a:r>
            <a:endParaRPr lang="en-US" dirty="0"/>
          </a:p>
        </p:txBody>
      </p:sp>
      <p:sp>
        <p:nvSpPr>
          <p:cNvPr id="5" name="Fußzeilenplatzhalter 4">
            <a:extLst>
              <a:ext uri="{FF2B5EF4-FFF2-40B4-BE49-F238E27FC236}">
                <a16:creationId xmlns:a16="http://schemas.microsoft.com/office/drawing/2014/main" id="{8D6D93A5-EB18-42A3-92C9-BCCDDB54CB05}"/>
              </a:ext>
            </a:extLst>
          </p:cNvPr>
          <p:cNvSpPr>
            <a:spLocks noGrp="1"/>
          </p:cNvSpPr>
          <p:nvPr>
            <p:ph type="ftr" sz="quarter" idx="11"/>
          </p:nvPr>
        </p:nvSpPr>
        <p:spPr/>
        <p:txBody>
          <a:bodyPr/>
          <a:lstStyle>
            <a:lvl1pPr>
              <a:defRPr>
                <a:solidFill>
                  <a:schemeClr val="bg1"/>
                </a:solidFill>
              </a:defRPr>
            </a:lvl1pPr>
          </a:lstStyle>
          <a:p>
            <a:r>
              <a:rPr lang="en-US" dirty="0"/>
              <a:t>Footer</a:t>
            </a:r>
          </a:p>
        </p:txBody>
      </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8" name="Textplatzhalter 7">
            <a:extLst>
              <a:ext uri="{FF2B5EF4-FFF2-40B4-BE49-F238E27FC236}">
                <a16:creationId xmlns:a16="http://schemas.microsoft.com/office/drawing/2014/main" id="{42F3C34B-24E5-47A4-6876-9BC98D1537C5}"/>
              </a:ext>
            </a:extLst>
          </p:cNvPr>
          <p:cNvSpPr>
            <a:spLocks noGrp="1"/>
          </p:cNvSpPr>
          <p:nvPr>
            <p:ph type="body" sz="quarter" idx="13" hasCustomPrompt="1"/>
          </p:nvPr>
        </p:nvSpPr>
        <p:spPr>
          <a:xfrm>
            <a:off x="695325" y="815466"/>
            <a:ext cx="8707438" cy="350838"/>
          </a:xfrm>
        </p:spPr>
        <p:txBody>
          <a:bodyPr>
            <a:noAutofit/>
          </a:bodyPr>
          <a:lstStyle>
            <a:lvl1pPr marL="0" indent="0">
              <a:buNone/>
              <a:defRPr sz="2400">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Tree>
    <p:extLst>
      <p:ext uri="{BB962C8B-B14F-4D97-AF65-F5344CB8AC3E}">
        <p14:creationId xmlns:p14="http://schemas.microsoft.com/office/powerpoint/2010/main" val="6232371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gradient">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2344179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Freihandform: Form 13">
            <a:extLst>
              <a:ext uri="{FF2B5EF4-FFF2-40B4-BE49-F238E27FC236}">
                <a16:creationId xmlns:a16="http://schemas.microsoft.com/office/drawing/2014/main" id="{55F5D3BA-7765-4777-5C46-26EFE8E737BD}"/>
              </a:ext>
            </a:extLst>
          </p:cNvPr>
          <p:cNvSpPr>
            <a:spLocks/>
          </p:cNvSpPr>
          <p:nvPr userDrawn="1"/>
        </p:nvSpPr>
        <p:spPr>
          <a:xfrm>
            <a:off x="1" y="6449104"/>
            <a:ext cx="11221821" cy="408897"/>
          </a:xfrm>
          <a:custGeom>
            <a:avLst/>
            <a:gdLst>
              <a:gd name="connsiteX0" fmla="*/ 0 w 11221821"/>
              <a:gd name="connsiteY0" fmla="*/ 0 h 408897"/>
              <a:gd name="connsiteX1" fmla="*/ 2901161 w 11221821"/>
              <a:gd name="connsiteY1" fmla="*/ 0 h 408897"/>
              <a:gd name="connsiteX2" fmla="*/ 7380716 w 11221821"/>
              <a:gd name="connsiteY2" fmla="*/ 0 h 408897"/>
              <a:gd name="connsiteX3" fmla="*/ 10922202 w 11221821"/>
              <a:gd name="connsiteY3" fmla="*/ 0 h 408897"/>
              <a:gd name="connsiteX4" fmla="*/ 11221821 w 11221821"/>
              <a:gd name="connsiteY4" fmla="*/ 408897 h 408897"/>
              <a:gd name="connsiteX5" fmla="*/ 0 w 11221821"/>
              <a:gd name="connsiteY5" fmla="*/ 408897 h 40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1821" h="408897">
                <a:moveTo>
                  <a:pt x="0" y="0"/>
                </a:moveTo>
                <a:lnTo>
                  <a:pt x="2901161" y="0"/>
                </a:lnTo>
                <a:lnTo>
                  <a:pt x="7380716" y="0"/>
                </a:lnTo>
                <a:lnTo>
                  <a:pt x="10922202" y="0"/>
                </a:lnTo>
                <a:lnTo>
                  <a:pt x="11221821" y="408897"/>
                </a:lnTo>
                <a:lnTo>
                  <a:pt x="0" y="408897"/>
                </a:lnTo>
                <a:close/>
              </a:path>
            </a:pathLst>
          </a:custGeom>
          <a:gradFill>
            <a:gsLst>
              <a:gs pos="45000">
                <a:schemeClr val="accent1"/>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el 1">
            <a:extLst>
              <a:ext uri="{FF2B5EF4-FFF2-40B4-BE49-F238E27FC236}">
                <a16:creationId xmlns:a16="http://schemas.microsoft.com/office/drawing/2014/main" id="{CDA4FE97-9D3F-4806-826F-04FA53127EE8}"/>
              </a:ext>
            </a:extLst>
          </p:cNvPr>
          <p:cNvSpPr>
            <a:spLocks noGrp="1"/>
          </p:cNvSpPr>
          <p:nvPr>
            <p:ph type="title" hasCustomPrompt="1"/>
          </p:nvPr>
        </p:nvSpPr>
        <p:spPr/>
        <p:txBody>
          <a:bodyPr vert="horz"/>
          <a:lstStyle/>
          <a:p>
            <a:r>
              <a:rPr lang="de-DE" dirty="0"/>
              <a:t>Title, Calibri </a:t>
            </a:r>
            <a:r>
              <a:rPr lang="de-DE" dirty="0" err="1"/>
              <a:t>Bold</a:t>
            </a:r>
            <a:r>
              <a:rPr lang="de-DE" dirty="0"/>
              <a:t>, 32pt</a:t>
            </a:r>
            <a:endParaRPr lang="en-US" dirty="0"/>
          </a:p>
        </p:txBody>
      </p:sp>
      <p:sp>
        <p:nvSpPr>
          <p:cNvPr id="5" name="Fußzeilenplatzhalter 4">
            <a:extLst>
              <a:ext uri="{FF2B5EF4-FFF2-40B4-BE49-F238E27FC236}">
                <a16:creationId xmlns:a16="http://schemas.microsoft.com/office/drawing/2014/main" id="{8D6D93A5-EB18-42A3-92C9-BCCDDB54CB05}"/>
              </a:ext>
            </a:extLst>
          </p:cNvPr>
          <p:cNvSpPr>
            <a:spLocks noGrp="1"/>
          </p:cNvSpPr>
          <p:nvPr>
            <p:ph type="ftr" sz="quarter" idx="11"/>
          </p:nvPr>
        </p:nvSpPr>
        <p:spPr/>
        <p:txBody>
          <a:bodyPr/>
          <a:lstStyle>
            <a:lvl1pPr>
              <a:defRPr>
                <a:solidFill>
                  <a:schemeClr val="bg1"/>
                </a:solidFill>
              </a:defRPr>
            </a:lvl1pPr>
          </a:lstStyle>
          <a:p>
            <a:r>
              <a:rPr lang="en-US" dirty="0"/>
              <a:t>Footer</a:t>
            </a:r>
          </a:p>
        </p:txBody>
      </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8" name="Textplatzhalter 7">
            <a:extLst>
              <a:ext uri="{FF2B5EF4-FFF2-40B4-BE49-F238E27FC236}">
                <a16:creationId xmlns:a16="http://schemas.microsoft.com/office/drawing/2014/main" id="{42F3C34B-24E5-47A4-6876-9BC98D1537C5}"/>
              </a:ext>
            </a:extLst>
          </p:cNvPr>
          <p:cNvSpPr>
            <a:spLocks noGrp="1"/>
          </p:cNvSpPr>
          <p:nvPr>
            <p:ph type="body" sz="quarter" idx="13" hasCustomPrompt="1"/>
          </p:nvPr>
        </p:nvSpPr>
        <p:spPr>
          <a:xfrm>
            <a:off x="695325" y="815466"/>
            <a:ext cx="8707438" cy="350838"/>
          </a:xfrm>
        </p:spPr>
        <p:txBody>
          <a:bodyPr>
            <a:noAutofit/>
          </a:bodyPr>
          <a:lstStyle>
            <a:lvl1pPr marL="0" indent="0">
              <a:buNone/>
              <a:defRPr sz="2400">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Tree>
    <p:extLst>
      <p:ext uri="{BB962C8B-B14F-4D97-AF65-F5344CB8AC3E}">
        <p14:creationId xmlns:p14="http://schemas.microsoft.com/office/powerpoint/2010/main" val="8747862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arrow">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969754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Freihandform: Form 18">
            <a:extLst>
              <a:ext uri="{FF2B5EF4-FFF2-40B4-BE49-F238E27FC236}">
                <a16:creationId xmlns:a16="http://schemas.microsoft.com/office/drawing/2014/main" id="{05FE5497-C7E5-75BB-64B1-57AAF06134BB}"/>
              </a:ext>
            </a:extLst>
          </p:cNvPr>
          <p:cNvSpPr/>
          <p:nvPr userDrawn="1"/>
        </p:nvSpPr>
        <p:spPr>
          <a:xfrm flipH="1">
            <a:off x="1754125" y="0"/>
            <a:ext cx="7876733" cy="6858000"/>
          </a:xfrm>
          <a:custGeom>
            <a:avLst/>
            <a:gdLst>
              <a:gd name="connsiteX0" fmla="*/ 7876733 w 7876733"/>
              <a:gd name="connsiteY0" fmla="*/ 0 h 6858000"/>
              <a:gd name="connsiteX1" fmla="*/ 3352132 w 7876733"/>
              <a:gd name="connsiteY1" fmla="*/ 0 h 6858000"/>
              <a:gd name="connsiteX2" fmla="*/ 0 w 7876733"/>
              <a:gd name="connsiteY2" fmla="*/ 4461366 h 6858000"/>
              <a:gd name="connsiteX3" fmla="*/ 1645601 w 7876733"/>
              <a:gd name="connsiteY3" fmla="*/ 6858000 h 6858000"/>
              <a:gd name="connsiteX4" fmla="*/ 6322952 w 7876733"/>
              <a:gd name="connsiteY4" fmla="*/ 6858000 h 6858000"/>
              <a:gd name="connsiteX5" fmla="*/ 4473258 w 7876733"/>
              <a:gd name="connsiteY5" fmla="*/ 44613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6733" h="6858000">
                <a:moveTo>
                  <a:pt x="7876733" y="0"/>
                </a:moveTo>
                <a:lnTo>
                  <a:pt x="3352132" y="0"/>
                </a:lnTo>
                <a:lnTo>
                  <a:pt x="0" y="4461366"/>
                </a:lnTo>
                <a:lnTo>
                  <a:pt x="1645601" y="6858000"/>
                </a:lnTo>
                <a:lnTo>
                  <a:pt x="6322952" y="6858000"/>
                </a:lnTo>
                <a:lnTo>
                  <a:pt x="4473258" y="4461366"/>
                </a:lnTo>
                <a:close/>
              </a:path>
            </a:pathLst>
          </a:custGeom>
          <a:solidFill>
            <a:schemeClr val="bg2">
              <a:alpha val="45000"/>
            </a:schemeClr>
          </a:solidFill>
          <a:ln w="6540" cap="flat">
            <a:noFill/>
            <a:prstDash val="solid"/>
            <a:miter/>
          </a:ln>
        </p:spPr>
        <p:txBody>
          <a:bodyPr wrap="square" rtlCol="0" anchor="ctr">
            <a:noAutofit/>
          </a:bodyPr>
          <a:lstStyle/>
          <a:p>
            <a:endParaRPr lang="en-GB" dirty="0"/>
          </a:p>
        </p:txBody>
      </p:sp>
      <p:sp>
        <p:nvSpPr>
          <p:cNvPr id="2" name="Titel 1">
            <a:extLst>
              <a:ext uri="{FF2B5EF4-FFF2-40B4-BE49-F238E27FC236}">
                <a16:creationId xmlns:a16="http://schemas.microsoft.com/office/drawing/2014/main" id="{CDA4FE97-9D3F-4806-826F-04FA53127EE8}"/>
              </a:ext>
            </a:extLst>
          </p:cNvPr>
          <p:cNvSpPr>
            <a:spLocks noGrp="1"/>
          </p:cNvSpPr>
          <p:nvPr>
            <p:ph type="title" hasCustomPrompt="1"/>
          </p:nvPr>
        </p:nvSpPr>
        <p:spPr/>
        <p:txBody>
          <a:bodyPr vert="horz"/>
          <a:lstStyle/>
          <a:p>
            <a:r>
              <a:rPr lang="de-DE" dirty="0"/>
              <a:t>Title, Calibri </a:t>
            </a:r>
            <a:r>
              <a:rPr lang="de-DE" dirty="0" err="1"/>
              <a:t>Bold</a:t>
            </a:r>
            <a:r>
              <a:rPr lang="de-DE" dirty="0"/>
              <a:t>, 32pt</a:t>
            </a:r>
            <a:endParaRPr lang="en-US" dirty="0"/>
          </a:p>
        </p:txBody>
      </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8" name="Textplatzhalter 7">
            <a:extLst>
              <a:ext uri="{FF2B5EF4-FFF2-40B4-BE49-F238E27FC236}">
                <a16:creationId xmlns:a16="http://schemas.microsoft.com/office/drawing/2014/main" id="{42F3C34B-24E5-47A4-6876-9BC98D1537C5}"/>
              </a:ext>
            </a:extLst>
          </p:cNvPr>
          <p:cNvSpPr>
            <a:spLocks noGrp="1"/>
          </p:cNvSpPr>
          <p:nvPr>
            <p:ph type="body" sz="quarter" idx="13" hasCustomPrompt="1"/>
          </p:nvPr>
        </p:nvSpPr>
        <p:spPr>
          <a:xfrm>
            <a:off x="695325" y="815466"/>
            <a:ext cx="8707438" cy="350838"/>
          </a:xfrm>
        </p:spPr>
        <p:txBody>
          <a:bodyPr>
            <a:noAutofit/>
          </a:bodyPr>
          <a:lstStyle>
            <a:lvl1pPr marL="0" indent="0">
              <a:buNone/>
              <a:defRPr sz="2400">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
        <p:nvSpPr>
          <p:cNvPr id="3" name="Fußzeilenplatzhalter 2">
            <a:extLst>
              <a:ext uri="{FF2B5EF4-FFF2-40B4-BE49-F238E27FC236}">
                <a16:creationId xmlns:a16="http://schemas.microsoft.com/office/drawing/2014/main" id="{FA04E38C-31BF-A861-F686-CDCD51F1168D}"/>
              </a:ext>
            </a:extLst>
          </p:cNvPr>
          <p:cNvSpPr>
            <a:spLocks noGrp="1"/>
          </p:cNvSpPr>
          <p:nvPr>
            <p:ph type="ftr" sz="quarter" idx="14"/>
          </p:nvPr>
        </p:nvSpPr>
        <p:spPr/>
        <p:txBody>
          <a:bodyPr/>
          <a:lstStyle/>
          <a:p>
            <a:r>
              <a:rPr lang="en-US"/>
              <a:t>Footer</a:t>
            </a:r>
            <a:endParaRPr lang="en-US" dirty="0"/>
          </a:p>
        </p:txBody>
      </p:sp>
    </p:spTree>
    <p:extLst>
      <p:ext uri="{BB962C8B-B14F-4D97-AF65-F5344CB8AC3E}">
        <p14:creationId xmlns:p14="http://schemas.microsoft.com/office/powerpoint/2010/main" val="33056089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pter slide 1">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4ECFE4EB-B50F-DE85-B977-C3D109224C0A}"/>
              </a:ext>
            </a:extLst>
          </p:cNvPr>
          <p:cNvGraphicFramePr>
            <a:graphicFrameLocks noChangeAspect="1"/>
          </p:cNvGraphicFramePr>
          <p:nvPr userDrawn="1">
            <p:custDataLst>
              <p:tags r:id="rId1"/>
            </p:custDataLst>
            <p:extLst>
              <p:ext uri="{D42A27DB-BD31-4B8C-83A1-F6EECF244321}">
                <p14:modId xmlns:p14="http://schemas.microsoft.com/office/powerpoint/2010/main" val="104819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9" name="Objekt 8" hidden="1">
                        <a:extLst>
                          <a:ext uri="{FF2B5EF4-FFF2-40B4-BE49-F238E27FC236}">
                            <a16:creationId xmlns:a16="http://schemas.microsoft.com/office/drawing/2014/main" id="{4ECFE4EB-B50F-DE85-B977-C3D109224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Freihandform: Form 6">
            <a:extLst>
              <a:ext uri="{FF2B5EF4-FFF2-40B4-BE49-F238E27FC236}">
                <a16:creationId xmlns:a16="http://schemas.microsoft.com/office/drawing/2014/main" id="{963460C2-E351-F7F9-44F6-63EA9EEAAC5D}"/>
              </a:ext>
            </a:extLst>
          </p:cNvPr>
          <p:cNvSpPr>
            <a:spLocks/>
          </p:cNvSpPr>
          <p:nvPr userDrawn="1"/>
        </p:nvSpPr>
        <p:spPr>
          <a:xfrm>
            <a:off x="1" y="6449104"/>
            <a:ext cx="11221821" cy="408897"/>
          </a:xfrm>
          <a:custGeom>
            <a:avLst/>
            <a:gdLst>
              <a:gd name="connsiteX0" fmla="*/ 0 w 11221821"/>
              <a:gd name="connsiteY0" fmla="*/ 0 h 408897"/>
              <a:gd name="connsiteX1" fmla="*/ 2901161 w 11221821"/>
              <a:gd name="connsiteY1" fmla="*/ 0 h 408897"/>
              <a:gd name="connsiteX2" fmla="*/ 7380716 w 11221821"/>
              <a:gd name="connsiteY2" fmla="*/ 0 h 408897"/>
              <a:gd name="connsiteX3" fmla="*/ 10922202 w 11221821"/>
              <a:gd name="connsiteY3" fmla="*/ 0 h 408897"/>
              <a:gd name="connsiteX4" fmla="*/ 11221821 w 11221821"/>
              <a:gd name="connsiteY4" fmla="*/ 408897 h 408897"/>
              <a:gd name="connsiteX5" fmla="*/ 0 w 11221821"/>
              <a:gd name="connsiteY5" fmla="*/ 408897 h 40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1821" h="408897">
                <a:moveTo>
                  <a:pt x="0" y="0"/>
                </a:moveTo>
                <a:lnTo>
                  <a:pt x="2901161" y="0"/>
                </a:lnTo>
                <a:lnTo>
                  <a:pt x="7380716" y="0"/>
                </a:lnTo>
                <a:lnTo>
                  <a:pt x="10922202" y="0"/>
                </a:lnTo>
                <a:lnTo>
                  <a:pt x="11221821" y="408897"/>
                </a:lnTo>
                <a:lnTo>
                  <a:pt x="0" y="408897"/>
                </a:lnTo>
                <a:close/>
              </a:path>
            </a:pathLst>
          </a:custGeom>
          <a:gradFill>
            <a:gsLst>
              <a:gs pos="45000">
                <a:schemeClr val="accent1"/>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el 1">
            <a:extLst>
              <a:ext uri="{FF2B5EF4-FFF2-40B4-BE49-F238E27FC236}">
                <a16:creationId xmlns:a16="http://schemas.microsoft.com/office/drawing/2014/main" id="{E37FF74F-A777-40F3-B417-2A11F3CD376E}"/>
              </a:ext>
            </a:extLst>
          </p:cNvPr>
          <p:cNvSpPr>
            <a:spLocks noGrp="1"/>
          </p:cNvSpPr>
          <p:nvPr>
            <p:ph type="title" hasCustomPrompt="1"/>
          </p:nvPr>
        </p:nvSpPr>
        <p:spPr>
          <a:xfrm>
            <a:off x="695325" y="3897678"/>
            <a:ext cx="9421425" cy="664797"/>
          </a:xfrm>
        </p:spPr>
        <p:txBody>
          <a:bodyPr vert="horz" wrap="square" anchor="b">
            <a:spAutoFit/>
          </a:bodyPr>
          <a:lstStyle>
            <a:lvl1pPr>
              <a:defRPr sz="4800"/>
            </a:lvl1pPr>
          </a:lstStyle>
          <a:p>
            <a:r>
              <a:rPr lang="de-DE" dirty="0"/>
              <a:t>Chapter title, Calibri </a:t>
            </a:r>
            <a:r>
              <a:rPr lang="de-DE" dirty="0" err="1"/>
              <a:t>Bold</a:t>
            </a:r>
            <a:r>
              <a:rPr lang="de-DE" dirty="0"/>
              <a:t>, 48pt</a:t>
            </a:r>
            <a:endParaRPr lang="en-US" dirty="0"/>
          </a:p>
        </p:txBody>
      </p:sp>
      <p:sp>
        <p:nvSpPr>
          <p:cNvPr id="3" name="Textplatzhalter 2">
            <a:extLst>
              <a:ext uri="{FF2B5EF4-FFF2-40B4-BE49-F238E27FC236}">
                <a16:creationId xmlns:a16="http://schemas.microsoft.com/office/drawing/2014/main" id="{2B885999-C60C-429C-A598-61810D76F33C}"/>
              </a:ext>
            </a:extLst>
          </p:cNvPr>
          <p:cNvSpPr>
            <a:spLocks noGrp="1"/>
          </p:cNvSpPr>
          <p:nvPr>
            <p:ph type="body" idx="1" hasCustomPrompt="1"/>
          </p:nvPr>
        </p:nvSpPr>
        <p:spPr>
          <a:xfrm>
            <a:off x="695325" y="4776030"/>
            <a:ext cx="9421425" cy="369332"/>
          </a:xfrm>
        </p:spPr>
        <p:txBody>
          <a:bodyPr wrap="square">
            <a:spAutoFit/>
          </a:bodyPr>
          <a:lstStyle>
            <a:lvl1pPr marL="0" indent="0">
              <a:buNone/>
              <a:defRPr sz="24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err="1"/>
              <a:t>Subtitle</a:t>
            </a:r>
            <a:r>
              <a:rPr lang="de-DE" dirty="0"/>
              <a:t>, Calibri, 24pt</a:t>
            </a:r>
          </a:p>
        </p:txBody>
      </p:sp>
      <p:sp>
        <p:nvSpPr>
          <p:cNvPr id="5" name="Fußzeilenplatzhalter 4">
            <a:extLst>
              <a:ext uri="{FF2B5EF4-FFF2-40B4-BE49-F238E27FC236}">
                <a16:creationId xmlns:a16="http://schemas.microsoft.com/office/drawing/2014/main" id="{F5FBC196-9803-4010-80F8-880941602515}"/>
              </a:ext>
            </a:extLst>
          </p:cNvPr>
          <p:cNvSpPr>
            <a:spLocks noGrp="1"/>
          </p:cNvSpPr>
          <p:nvPr>
            <p:ph type="ftr" sz="quarter" idx="11"/>
          </p:nvPr>
        </p:nvSpPr>
        <p:spPr/>
        <p:txBody>
          <a:bodyPr/>
          <a:lstStyle>
            <a:lvl1pPr>
              <a:defRPr>
                <a:solidFill>
                  <a:schemeClr val="bg1"/>
                </a:solidFill>
              </a:defRPr>
            </a:lvl1pPr>
          </a:lstStyle>
          <a:p>
            <a:r>
              <a:rPr lang="en-US"/>
              <a:t>Footer</a:t>
            </a:r>
            <a:endParaRPr lang="en-US" dirty="0"/>
          </a:p>
        </p:txBody>
      </p:sp>
      <p:sp>
        <p:nvSpPr>
          <p:cNvPr id="6" name="Foliennummernplatzhalter 5">
            <a:extLst>
              <a:ext uri="{FF2B5EF4-FFF2-40B4-BE49-F238E27FC236}">
                <a16:creationId xmlns:a16="http://schemas.microsoft.com/office/drawing/2014/main" id="{57A81F43-B9EE-4B56-9AB5-F947C45E9CBF}"/>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22" name="Textplatzhalter 21">
            <a:extLst>
              <a:ext uri="{FF2B5EF4-FFF2-40B4-BE49-F238E27FC236}">
                <a16:creationId xmlns:a16="http://schemas.microsoft.com/office/drawing/2014/main" id="{B1E3F3D6-1ECA-F57F-699C-B7C0DE6DD91D}"/>
              </a:ext>
            </a:extLst>
          </p:cNvPr>
          <p:cNvSpPr>
            <a:spLocks noGrp="1"/>
          </p:cNvSpPr>
          <p:nvPr>
            <p:ph type="body" sz="quarter" idx="13" hasCustomPrompt="1"/>
          </p:nvPr>
        </p:nvSpPr>
        <p:spPr>
          <a:xfrm>
            <a:off x="695325" y="3102956"/>
            <a:ext cx="1264104" cy="738664"/>
          </a:xfrm>
        </p:spPr>
        <p:txBody>
          <a:bodyPr wrap="square">
            <a:spAutoFit/>
          </a:bodyPr>
          <a:lstStyle>
            <a:lvl1pPr marL="0" indent="0">
              <a:buNone/>
              <a:defRPr sz="4800">
                <a:latin typeface="+mj-lt"/>
              </a:defRPr>
            </a:lvl1pPr>
            <a:lvl2pPr marL="216000" indent="0">
              <a:buNone/>
              <a:defRPr sz="2400"/>
            </a:lvl2pPr>
            <a:lvl3pPr marL="432000" indent="0">
              <a:buNone/>
              <a:defRPr sz="2400"/>
            </a:lvl3pPr>
            <a:lvl4pPr marL="648000" indent="0">
              <a:buNone/>
              <a:defRPr sz="2400"/>
            </a:lvl4pPr>
            <a:lvl5pPr marL="864000" indent="0">
              <a:buNone/>
              <a:defRPr sz="2400"/>
            </a:lvl5pPr>
          </a:lstStyle>
          <a:p>
            <a:pPr lvl="0"/>
            <a:r>
              <a:rPr lang="en-US" dirty="0"/>
              <a:t>00</a:t>
            </a:r>
          </a:p>
        </p:txBody>
      </p:sp>
    </p:spTree>
    <p:extLst>
      <p:ext uri="{BB962C8B-B14F-4D97-AF65-F5344CB8AC3E}">
        <p14:creationId xmlns:p14="http://schemas.microsoft.com/office/powerpoint/2010/main" val="20275934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hapter slide 2">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4ECFE4EB-B50F-DE85-B977-C3D109224C0A}"/>
              </a:ext>
            </a:extLst>
          </p:cNvPr>
          <p:cNvGraphicFramePr>
            <a:graphicFrameLocks noChangeAspect="1"/>
          </p:cNvGraphicFramePr>
          <p:nvPr userDrawn="1">
            <p:custDataLst>
              <p:tags r:id="rId1"/>
            </p:custDataLst>
            <p:extLst>
              <p:ext uri="{D42A27DB-BD31-4B8C-83A1-F6EECF244321}">
                <p14:modId xmlns:p14="http://schemas.microsoft.com/office/powerpoint/2010/main" val="1146191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9" name="Objekt 8" hidden="1">
                        <a:extLst>
                          <a:ext uri="{FF2B5EF4-FFF2-40B4-BE49-F238E27FC236}">
                            <a16:creationId xmlns:a16="http://schemas.microsoft.com/office/drawing/2014/main" id="{4ECFE4EB-B50F-DE85-B977-C3D109224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reihandform: Form 3">
            <a:extLst>
              <a:ext uri="{FF2B5EF4-FFF2-40B4-BE49-F238E27FC236}">
                <a16:creationId xmlns:a16="http://schemas.microsoft.com/office/drawing/2014/main" id="{DB135F4F-DCD0-88EF-7958-DD8F114B0452}"/>
              </a:ext>
            </a:extLst>
          </p:cNvPr>
          <p:cNvSpPr/>
          <p:nvPr userDrawn="1"/>
        </p:nvSpPr>
        <p:spPr>
          <a:xfrm flipH="1">
            <a:off x="4134250" y="1"/>
            <a:ext cx="8057750" cy="6857999"/>
          </a:xfrm>
          <a:custGeom>
            <a:avLst/>
            <a:gdLst>
              <a:gd name="connsiteX0" fmla="*/ 8057750 w 8057750"/>
              <a:gd name="connsiteY0" fmla="*/ 0 h 6857999"/>
              <a:gd name="connsiteX1" fmla="*/ 1238943 w 8057750"/>
              <a:gd name="connsiteY1" fmla="*/ 0 h 6857999"/>
              <a:gd name="connsiteX2" fmla="*/ 0 w 8057750"/>
              <a:gd name="connsiteY2" fmla="*/ 1648913 h 6857999"/>
              <a:gd name="connsiteX3" fmla="*/ 0 w 8057750"/>
              <a:gd name="connsiteY3" fmla="*/ 6857999 h 6857999"/>
              <a:gd name="connsiteX4" fmla="*/ 2825936 w 8057750"/>
              <a:gd name="connsiteY4" fmla="*/ 6857999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7750" h="6857999">
                <a:moveTo>
                  <a:pt x="8057750" y="0"/>
                </a:moveTo>
                <a:lnTo>
                  <a:pt x="1238943" y="0"/>
                </a:lnTo>
                <a:lnTo>
                  <a:pt x="0" y="1648913"/>
                </a:lnTo>
                <a:lnTo>
                  <a:pt x="0" y="6857999"/>
                </a:lnTo>
                <a:lnTo>
                  <a:pt x="2825936" y="6857999"/>
                </a:lnTo>
                <a:close/>
              </a:path>
            </a:pathLst>
          </a:custGeom>
          <a:solidFill>
            <a:schemeClr val="bg2">
              <a:alpha val="45000"/>
            </a:schemeClr>
          </a:solidFill>
          <a:ln w="6540" cap="flat">
            <a:noFill/>
            <a:prstDash val="solid"/>
            <a:miter/>
          </a:ln>
        </p:spPr>
        <p:txBody>
          <a:bodyPr wrap="square" rtlCol="0" anchor="ctr">
            <a:noAutofit/>
          </a:bodyPr>
          <a:lstStyle/>
          <a:p>
            <a:pPr lvl="0"/>
            <a:endParaRPr lang="en-GB" dirty="0"/>
          </a:p>
        </p:txBody>
      </p:sp>
      <p:sp>
        <p:nvSpPr>
          <p:cNvPr id="2" name="Titel 1">
            <a:extLst>
              <a:ext uri="{FF2B5EF4-FFF2-40B4-BE49-F238E27FC236}">
                <a16:creationId xmlns:a16="http://schemas.microsoft.com/office/drawing/2014/main" id="{E37FF74F-A777-40F3-B417-2A11F3CD376E}"/>
              </a:ext>
            </a:extLst>
          </p:cNvPr>
          <p:cNvSpPr>
            <a:spLocks noGrp="1"/>
          </p:cNvSpPr>
          <p:nvPr>
            <p:ph type="title" hasCustomPrompt="1"/>
          </p:nvPr>
        </p:nvSpPr>
        <p:spPr>
          <a:xfrm>
            <a:off x="5034328" y="3874355"/>
            <a:ext cx="6462347" cy="1329595"/>
          </a:xfrm>
        </p:spPr>
        <p:txBody>
          <a:bodyPr vert="horz" wrap="square" anchor="t">
            <a:spAutoFit/>
          </a:bodyPr>
          <a:lstStyle>
            <a:lvl1pPr>
              <a:defRPr sz="4800"/>
            </a:lvl1pPr>
          </a:lstStyle>
          <a:p>
            <a:r>
              <a:rPr lang="de-DE" dirty="0"/>
              <a:t>Chapter title,</a:t>
            </a:r>
            <a:br>
              <a:rPr lang="de-DE" dirty="0"/>
            </a:br>
            <a:r>
              <a:rPr lang="de-DE" dirty="0"/>
              <a:t>Calibri </a:t>
            </a:r>
            <a:r>
              <a:rPr lang="de-DE" dirty="0" err="1"/>
              <a:t>Bold</a:t>
            </a:r>
            <a:r>
              <a:rPr lang="de-DE" dirty="0"/>
              <a:t>, 48pt</a:t>
            </a:r>
            <a:endParaRPr lang="en-US" dirty="0"/>
          </a:p>
        </p:txBody>
      </p:sp>
      <p:sp>
        <p:nvSpPr>
          <p:cNvPr id="3" name="Textplatzhalter 2">
            <a:extLst>
              <a:ext uri="{FF2B5EF4-FFF2-40B4-BE49-F238E27FC236}">
                <a16:creationId xmlns:a16="http://schemas.microsoft.com/office/drawing/2014/main" id="{2B885999-C60C-429C-A598-61810D76F33C}"/>
              </a:ext>
            </a:extLst>
          </p:cNvPr>
          <p:cNvSpPr>
            <a:spLocks noGrp="1"/>
          </p:cNvSpPr>
          <p:nvPr>
            <p:ph type="body" idx="1" hasCustomPrompt="1"/>
          </p:nvPr>
        </p:nvSpPr>
        <p:spPr>
          <a:xfrm>
            <a:off x="5034328" y="5417505"/>
            <a:ext cx="6462347" cy="369332"/>
          </a:xfrm>
        </p:spPr>
        <p:txBody>
          <a:bodyPr wrap="square">
            <a:spAutoFit/>
          </a:bodyPr>
          <a:lstStyle>
            <a:lvl1pPr marL="0" indent="0">
              <a:buNone/>
              <a:defRPr sz="240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dirty="0" err="1"/>
              <a:t>Subtitle</a:t>
            </a:r>
            <a:r>
              <a:rPr lang="de-DE" dirty="0"/>
              <a:t>, Calibri, 24pt</a:t>
            </a:r>
          </a:p>
        </p:txBody>
      </p:sp>
      <p:sp>
        <p:nvSpPr>
          <p:cNvPr id="6" name="Foliennummernplatzhalter 5">
            <a:extLst>
              <a:ext uri="{FF2B5EF4-FFF2-40B4-BE49-F238E27FC236}">
                <a16:creationId xmlns:a16="http://schemas.microsoft.com/office/drawing/2014/main" id="{57A81F43-B9EE-4B56-9AB5-F947C45E9CBF}"/>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22" name="Textplatzhalter 21">
            <a:extLst>
              <a:ext uri="{FF2B5EF4-FFF2-40B4-BE49-F238E27FC236}">
                <a16:creationId xmlns:a16="http://schemas.microsoft.com/office/drawing/2014/main" id="{B1E3F3D6-1ECA-F57F-699C-B7C0DE6DD91D}"/>
              </a:ext>
            </a:extLst>
          </p:cNvPr>
          <p:cNvSpPr>
            <a:spLocks noGrp="1"/>
          </p:cNvSpPr>
          <p:nvPr>
            <p:ph type="body" sz="quarter" idx="13" hasCustomPrompt="1"/>
          </p:nvPr>
        </p:nvSpPr>
        <p:spPr>
          <a:xfrm>
            <a:off x="5034328" y="3100455"/>
            <a:ext cx="1264104" cy="738664"/>
          </a:xfrm>
        </p:spPr>
        <p:txBody>
          <a:bodyPr wrap="square">
            <a:spAutoFit/>
          </a:bodyPr>
          <a:lstStyle>
            <a:lvl1pPr marL="0" indent="0">
              <a:buNone/>
              <a:defRPr sz="4800">
                <a:latin typeface="+mj-lt"/>
              </a:defRPr>
            </a:lvl1pPr>
            <a:lvl2pPr marL="216000" indent="0">
              <a:buNone/>
              <a:defRPr sz="2400"/>
            </a:lvl2pPr>
            <a:lvl3pPr marL="432000" indent="0">
              <a:buNone/>
              <a:defRPr sz="2400"/>
            </a:lvl3pPr>
            <a:lvl4pPr marL="648000" indent="0">
              <a:buNone/>
              <a:defRPr sz="2400"/>
            </a:lvl4pPr>
            <a:lvl5pPr marL="864000" indent="0">
              <a:buNone/>
              <a:defRPr sz="2400"/>
            </a:lvl5pPr>
          </a:lstStyle>
          <a:p>
            <a:pPr lvl="0"/>
            <a:r>
              <a:rPr lang="en-US" dirty="0"/>
              <a:t>00</a:t>
            </a:r>
          </a:p>
        </p:txBody>
      </p:sp>
      <p:sp>
        <p:nvSpPr>
          <p:cNvPr id="36" name="Freihandform: Form 35">
            <a:extLst>
              <a:ext uri="{FF2B5EF4-FFF2-40B4-BE49-F238E27FC236}">
                <a16:creationId xmlns:a16="http://schemas.microsoft.com/office/drawing/2014/main" id="{255F7C20-238D-EBDE-5EFB-51ED415BC7A1}"/>
              </a:ext>
            </a:extLst>
          </p:cNvPr>
          <p:cNvSpPr/>
          <p:nvPr userDrawn="1"/>
        </p:nvSpPr>
        <p:spPr>
          <a:xfrm>
            <a:off x="0" y="0"/>
            <a:ext cx="4249196" cy="6858000"/>
          </a:xfrm>
          <a:custGeom>
            <a:avLst/>
            <a:gdLst>
              <a:gd name="connsiteX0" fmla="*/ 0 w 4249196"/>
              <a:gd name="connsiteY0" fmla="*/ 0 h 6858000"/>
              <a:gd name="connsiteX1" fmla="*/ 2699439 w 4249196"/>
              <a:gd name="connsiteY1" fmla="*/ 0 h 6858000"/>
              <a:gd name="connsiteX2" fmla="*/ 4249196 w 4249196"/>
              <a:gd name="connsiteY2" fmla="*/ 2062578 h 6858000"/>
              <a:gd name="connsiteX3" fmla="*/ 956514 w 4249196"/>
              <a:gd name="connsiteY3" fmla="*/ 6858000 h 6858000"/>
              <a:gd name="connsiteX4" fmla="*/ 0 w 424919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9196" h="6858000">
                <a:moveTo>
                  <a:pt x="0" y="0"/>
                </a:moveTo>
                <a:lnTo>
                  <a:pt x="2699439" y="0"/>
                </a:lnTo>
                <a:lnTo>
                  <a:pt x="4249196" y="2062578"/>
                </a:lnTo>
                <a:lnTo>
                  <a:pt x="956514" y="6858000"/>
                </a:lnTo>
                <a:lnTo>
                  <a:pt x="0" y="6858000"/>
                </a:lnTo>
                <a:close/>
              </a:path>
            </a:pathLst>
          </a:custGeom>
          <a:gradFill>
            <a:gsLst>
              <a:gs pos="11000">
                <a:schemeClr val="accent1"/>
              </a:gs>
              <a:gs pos="100000">
                <a:schemeClr val="accent3"/>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32" name="Gruppieren 31">
            <a:extLst>
              <a:ext uri="{FF2B5EF4-FFF2-40B4-BE49-F238E27FC236}">
                <a16:creationId xmlns:a16="http://schemas.microsoft.com/office/drawing/2014/main" id="{5A2DE6D8-5439-CBF0-1F72-D4EC48C196BD}"/>
              </a:ext>
            </a:extLst>
          </p:cNvPr>
          <p:cNvGrpSpPr/>
          <p:nvPr userDrawn="1"/>
        </p:nvGrpSpPr>
        <p:grpSpPr>
          <a:xfrm>
            <a:off x="9938597" y="441325"/>
            <a:ext cx="1558078" cy="295275"/>
            <a:chOff x="9938597" y="441325"/>
            <a:chExt cx="1558078" cy="295275"/>
          </a:xfrm>
        </p:grpSpPr>
        <p:sp>
          <p:nvSpPr>
            <p:cNvPr id="33" name="Freeform: Shape 10">
              <a:extLst>
                <a:ext uri="{FF2B5EF4-FFF2-40B4-BE49-F238E27FC236}">
                  <a16:creationId xmlns:a16="http://schemas.microsoft.com/office/drawing/2014/main" id="{07425A04-B7D0-33FC-C51A-ABFAFC588579}"/>
                </a:ext>
              </a:extLst>
            </p:cNvPr>
            <p:cNvSpPr/>
            <p:nvPr/>
          </p:nvSpPr>
          <p:spPr>
            <a:xfrm>
              <a:off x="9938597" y="441325"/>
              <a:ext cx="77518" cy="289100"/>
            </a:xfrm>
            <a:custGeom>
              <a:avLst/>
              <a:gdLst>
                <a:gd name="connsiteX0" fmla="*/ 92671 w 92670"/>
                <a:gd name="connsiteY0" fmla="*/ 0 h 338478"/>
                <a:gd name="connsiteX1" fmla="*/ 0 w 92670"/>
                <a:gd name="connsiteY1" fmla="*/ 0 h 338478"/>
                <a:gd name="connsiteX2" fmla="*/ 0 w 92670"/>
                <a:gd name="connsiteY2" fmla="*/ 338478 h 338478"/>
                <a:gd name="connsiteX3" fmla="*/ 92671 w 92670"/>
                <a:gd name="connsiteY3" fmla="*/ 217546 h 338478"/>
              </a:gdLst>
              <a:ahLst/>
              <a:cxnLst>
                <a:cxn ang="0">
                  <a:pos x="connsiteX0" y="connsiteY0"/>
                </a:cxn>
                <a:cxn ang="0">
                  <a:pos x="connsiteX1" y="connsiteY1"/>
                </a:cxn>
                <a:cxn ang="0">
                  <a:pos x="connsiteX2" y="connsiteY2"/>
                </a:cxn>
                <a:cxn ang="0">
                  <a:pos x="connsiteX3" y="connsiteY3"/>
                </a:cxn>
              </a:cxnLst>
              <a:rect l="l" t="t" r="r" b="b"/>
              <a:pathLst>
                <a:path w="92670" h="338478">
                  <a:moveTo>
                    <a:pt x="92671" y="0"/>
                  </a:moveTo>
                  <a:lnTo>
                    <a:pt x="0" y="0"/>
                  </a:lnTo>
                  <a:lnTo>
                    <a:pt x="0" y="338478"/>
                  </a:lnTo>
                  <a:lnTo>
                    <a:pt x="92671" y="217546"/>
                  </a:lnTo>
                  <a:close/>
                </a:path>
              </a:pathLst>
            </a:custGeom>
            <a:solidFill>
              <a:schemeClr val="accent3"/>
            </a:solidFill>
            <a:ln w="6540" cap="flat">
              <a:noFill/>
              <a:prstDash val="solid"/>
              <a:miter/>
            </a:ln>
          </p:spPr>
          <p:txBody>
            <a:bodyPr rtlCol="0" anchor="ctr"/>
            <a:lstStyle/>
            <a:p>
              <a:endParaRPr lang="en-GB"/>
            </a:p>
          </p:txBody>
        </p:sp>
        <p:sp>
          <p:nvSpPr>
            <p:cNvPr id="34" name="Freeform: Shape 11">
              <a:extLst>
                <a:ext uri="{FF2B5EF4-FFF2-40B4-BE49-F238E27FC236}">
                  <a16:creationId xmlns:a16="http://schemas.microsoft.com/office/drawing/2014/main" id="{0E42B392-2EEA-995D-E0C5-5896B9CE5736}"/>
                </a:ext>
              </a:extLst>
            </p:cNvPr>
            <p:cNvSpPr/>
            <p:nvPr/>
          </p:nvSpPr>
          <p:spPr>
            <a:xfrm>
              <a:off x="10016115" y="441325"/>
              <a:ext cx="1480560" cy="295275"/>
            </a:xfrm>
            <a:custGeom>
              <a:avLst/>
              <a:gdLst>
                <a:gd name="connsiteX0" fmla="*/ 196515 w 1769954"/>
                <a:gd name="connsiteY0" fmla="*/ 92671 h 345708"/>
                <a:gd name="connsiteX1" fmla="*/ 99243 w 1769954"/>
                <a:gd name="connsiteY1" fmla="*/ 217546 h 345708"/>
                <a:gd name="connsiteX2" fmla="*/ 194543 w 1769954"/>
                <a:gd name="connsiteY2" fmla="*/ 338478 h 345708"/>
                <a:gd name="connsiteX3" fmla="*/ 84784 w 1769954"/>
                <a:gd name="connsiteY3" fmla="*/ 338478 h 345708"/>
                <a:gd name="connsiteX4" fmla="*/ 0 w 1769954"/>
                <a:gd name="connsiteY4" fmla="*/ 217546 h 345708"/>
                <a:gd name="connsiteX5" fmla="*/ 95300 w 1769954"/>
                <a:gd name="connsiteY5" fmla="*/ 93328 h 345708"/>
                <a:gd name="connsiteX6" fmla="*/ 196515 w 1769954"/>
                <a:gd name="connsiteY6" fmla="*/ 92671 h 345708"/>
                <a:gd name="connsiteX7" fmla="*/ 338478 w 1769954"/>
                <a:gd name="connsiteY7" fmla="*/ 85441 h 345708"/>
                <a:gd name="connsiteX8" fmla="*/ 195857 w 1769954"/>
                <a:gd name="connsiteY8" fmla="*/ 215575 h 345708"/>
                <a:gd name="connsiteX9" fmla="*/ 338478 w 1769954"/>
                <a:gd name="connsiteY9" fmla="*/ 345708 h 345708"/>
                <a:gd name="connsiteX10" fmla="*/ 481100 w 1769954"/>
                <a:gd name="connsiteY10" fmla="*/ 215575 h 345708"/>
                <a:gd name="connsiteX11" fmla="*/ 338478 w 1769954"/>
                <a:gd name="connsiteY11" fmla="*/ 85441 h 345708"/>
                <a:gd name="connsiteX12" fmla="*/ 291157 w 1769954"/>
                <a:gd name="connsiteY12" fmla="*/ 215575 h 345708"/>
                <a:gd name="connsiteX13" fmla="*/ 338478 w 1769954"/>
                <a:gd name="connsiteY13" fmla="*/ 139335 h 345708"/>
                <a:gd name="connsiteX14" fmla="*/ 385800 w 1769954"/>
                <a:gd name="connsiteY14" fmla="*/ 215575 h 345708"/>
                <a:gd name="connsiteX15" fmla="*/ 338478 w 1769954"/>
                <a:gd name="connsiteY15" fmla="*/ 291814 h 345708"/>
                <a:gd name="connsiteX16" fmla="*/ 291157 w 1769954"/>
                <a:gd name="connsiteY16" fmla="*/ 215575 h 345708"/>
                <a:gd name="connsiteX17" fmla="*/ 683529 w 1769954"/>
                <a:gd name="connsiteY17" fmla="*/ 85441 h 345708"/>
                <a:gd name="connsiteX18" fmla="*/ 606632 w 1769954"/>
                <a:gd name="connsiteY18" fmla="*/ 119618 h 345708"/>
                <a:gd name="connsiteX19" fmla="*/ 605318 w 1769954"/>
                <a:gd name="connsiteY19" fmla="*/ 92671 h 345708"/>
                <a:gd name="connsiteX20" fmla="*/ 513962 w 1769954"/>
                <a:gd name="connsiteY20" fmla="*/ 92671 h 345708"/>
                <a:gd name="connsiteX21" fmla="*/ 513962 w 1769954"/>
                <a:gd name="connsiteY21" fmla="*/ 337821 h 345708"/>
                <a:gd name="connsiteX22" fmla="*/ 606632 w 1769954"/>
                <a:gd name="connsiteY22" fmla="*/ 337821 h 345708"/>
                <a:gd name="connsiteX23" fmla="*/ 606632 w 1769954"/>
                <a:gd name="connsiteY23" fmla="*/ 197172 h 345708"/>
                <a:gd name="connsiteX24" fmla="*/ 646724 w 1769954"/>
                <a:gd name="connsiteY24" fmla="*/ 143935 h 345708"/>
                <a:gd name="connsiteX25" fmla="*/ 682215 w 1769954"/>
                <a:gd name="connsiteY25" fmla="*/ 193886 h 345708"/>
                <a:gd name="connsiteX26" fmla="*/ 682215 w 1769954"/>
                <a:gd name="connsiteY26" fmla="*/ 337821 h 345708"/>
                <a:gd name="connsiteX27" fmla="*/ 774886 w 1769954"/>
                <a:gd name="connsiteY27" fmla="*/ 337821 h 345708"/>
                <a:gd name="connsiteX28" fmla="*/ 774886 w 1769954"/>
                <a:gd name="connsiteY28" fmla="*/ 173511 h 345708"/>
                <a:gd name="connsiteX29" fmla="*/ 683529 w 1769954"/>
                <a:gd name="connsiteY29" fmla="*/ 85441 h 345708"/>
                <a:gd name="connsiteX30" fmla="*/ 815635 w 1769954"/>
                <a:gd name="connsiteY30" fmla="*/ 260924 h 345708"/>
                <a:gd name="connsiteX31" fmla="*/ 912249 w 1769954"/>
                <a:gd name="connsiteY31" fmla="*/ 345051 h 345708"/>
                <a:gd name="connsiteX32" fmla="*/ 962199 w 1769954"/>
                <a:gd name="connsiteY32" fmla="*/ 340450 h 345708"/>
                <a:gd name="connsiteX33" fmla="*/ 962199 w 1769954"/>
                <a:gd name="connsiteY33" fmla="*/ 285242 h 345708"/>
                <a:gd name="connsiteX34" fmla="*/ 926708 w 1769954"/>
                <a:gd name="connsiteY34" fmla="*/ 286556 h 345708"/>
                <a:gd name="connsiteX35" fmla="*/ 908963 w 1769954"/>
                <a:gd name="connsiteY35" fmla="*/ 248437 h 345708"/>
                <a:gd name="connsiteX36" fmla="*/ 908963 w 1769954"/>
                <a:gd name="connsiteY36" fmla="*/ 151165 h 345708"/>
                <a:gd name="connsiteX37" fmla="*/ 962856 w 1769954"/>
                <a:gd name="connsiteY37" fmla="*/ 151165 h 345708"/>
                <a:gd name="connsiteX38" fmla="*/ 962856 w 1769954"/>
                <a:gd name="connsiteY38" fmla="*/ 93328 h 345708"/>
                <a:gd name="connsiteX39" fmla="*/ 908963 w 1769954"/>
                <a:gd name="connsiteY39" fmla="*/ 93328 h 345708"/>
                <a:gd name="connsiteX40" fmla="*/ 908963 w 1769954"/>
                <a:gd name="connsiteY40" fmla="*/ 0 h 345708"/>
                <a:gd name="connsiteX41" fmla="*/ 816292 w 1769954"/>
                <a:gd name="connsiteY41" fmla="*/ 120932 h 345708"/>
                <a:gd name="connsiteX42" fmla="*/ 815635 w 1769954"/>
                <a:gd name="connsiteY42" fmla="*/ 260924 h 345708"/>
                <a:gd name="connsiteX43" fmla="*/ 1097591 w 1769954"/>
                <a:gd name="connsiteY43" fmla="*/ 92671 h 345708"/>
                <a:gd name="connsiteX44" fmla="*/ 1006234 w 1769954"/>
                <a:gd name="connsiteY44" fmla="*/ 92671 h 345708"/>
                <a:gd name="connsiteX45" fmla="*/ 1006234 w 1769954"/>
                <a:gd name="connsiteY45" fmla="*/ 337821 h 345708"/>
                <a:gd name="connsiteX46" fmla="*/ 1098905 w 1769954"/>
                <a:gd name="connsiteY46" fmla="*/ 337821 h 345708"/>
                <a:gd name="connsiteX47" fmla="*/ 1098905 w 1769954"/>
                <a:gd name="connsiteY47" fmla="*/ 239235 h 345708"/>
                <a:gd name="connsiteX48" fmla="*/ 1162657 w 1769954"/>
                <a:gd name="connsiteY48" fmla="*/ 162995 h 345708"/>
                <a:gd name="connsiteX49" fmla="*/ 1182374 w 1769954"/>
                <a:gd name="connsiteY49" fmla="*/ 163653 h 345708"/>
                <a:gd name="connsiteX50" fmla="*/ 1182374 w 1769954"/>
                <a:gd name="connsiteY50" fmla="*/ 85441 h 345708"/>
                <a:gd name="connsiteX51" fmla="*/ 1100219 w 1769954"/>
                <a:gd name="connsiteY51" fmla="*/ 138678 h 345708"/>
                <a:gd name="connsiteX52" fmla="*/ 1099562 w 1769954"/>
                <a:gd name="connsiteY52" fmla="*/ 138678 h 345708"/>
                <a:gd name="connsiteX53" fmla="*/ 1097591 w 1769954"/>
                <a:gd name="connsiteY53" fmla="*/ 92671 h 345708"/>
                <a:gd name="connsiteX54" fmla="*/ 1338140 w 1769954"/>
                <a:gd name="connsiteY54" fmla="*/ 85441 h 345708"/>
                <a:gd name="connsiteX55" fmla="*/ 1195519 w 1769954"/>
                <a:gd name="connsiteY55" fmla="*/ 215575 h 345708"/>
                <a:gd name="connsiteX56" fmla="*/ 1338140 w 1769954"/>
                <a:gd name="connsiteY56" fmla="*/ 345708 h 345708"/>
                <a:gd name="connsiteX57" fmla="*/ 1480761 w 1769954"/>
                <a:gd name="connsiteY57" fmla="*/ 215575 h 345708"/>
                <a:gd name="connsiteX58" fmla="*/ 1338140 w 1769954"/>
                <a:gd name="connsiteY58" fmla="*/ 85441 h 345708"/>
                <a:gd name="connsiteX59" fmla="*/ 1290819 w 1769954"/>
                <a:gd name="connsiteY59" fmla="*/ 215575 h 345708"/>
                <a:gd name="connsiteX60" fmla="*/ 1338140 w 1769954"/>
                <a:gd name="connsiteY60" fmla="*/ 139335 h 345708"/>
                <a:gd name="connsiteX61" fmla="*/ 1385461 w 1769954"/>
                <a:gd name="connsiteY61" fmla="*/ 215575 h 345708"/>
                <a:gd name="connsiteX62" fmla="*/ 1338140 w 1769954"/>
                <a:gd name="connsiteY62" fmla="*/ 291814 h 345708"/>
                <a:gd name="connsiteX63" fmla="*/ 1290819 w 1769954"/>
                <a:gd name="connsiteY63" fmla="*/ 215575 h 345708"/>
                <a:gd name="connsiteX64" fmla="*/ 1678590 w 1769954"/>
                <a:gd name="connsiteY64" fmla="*/ 85441 h 345708"/>
                <a:gd name="connsiteX65" fmla="*/ 1601693 w 1769954"/>
                <a:gd name="connsiteY65" fmla="*/ 119618 h 345708"/>
                <a:gd name="connsiteX66" fmla="*/ 1600379 w 1769954"/>
                <a:gd name="connsiteY66" fmla="*/ 92671 h 345708"/>
                <a:gd name="connsiteX67" fmla="*/ 1509023 w 1769954"/>
                <a:gd name="connsiteY67" fmla="*/ 92671 h 345708"/>
                <a:gd name="connsiteX68" fmla="*/ 1509023 w 1769954"/>
                <a:gd name="connsiteY68" fmla="*/ 337821 h 345708"/>
                <a:gd name="connsiteX69" fmla="*/ 1601693 w 1769954"/>
                <a:gd name="connsiteY69" fmla="*/ 337821 h 345708"/>
                <a:gd name="connsiteX70" fmla="*/ 1601693 w 1769954"/>
                <a:gd name="connsiteY70" fmla="*/ 197829 h 345708"/>
                <a:gd name="connsiteX71" fmla="*/ 1641785 w 1769954"/>
                <a:gd name="connsiteY71" fmla="*/ 144593 h 345708"/>
                <a:gd name="connsiteX72" fmla="*/ 1677276 w 1769954"/>
                <a:gd name="connsiteY72" fmla="*/ 194543 h 345708"/>
                <a:gd name="connsiteX73" fmla="*/ 1677276 w 1769954"/>
                <a:gd name="connsiteY73" fmla="*/ 338478 h 345708"/>
                <a:gd name="connsiteX74" fmla="*/ 1769947 w 1769954"/>
                <a:gd name="connsiteY74" fmla="*/ 338478 h 345708"/>
                <a:gd name="connsiteX75" fmla="*/ 1769947 w 1769954"/>
                <a:gd name="connsiteY75" fmla="*/ 174169 h 345708"/>
                <a:gd name="connsiteX76" fmla="*/ 1678590 w 1769954"/>
                <a:gd name="connsiteY76" fmla="*/ 85441 h 34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69954" h="345708">
                  <a:moveTo>
                    <a:pt x="196515" y="92671"/>
                  </a:moveTo>
                  <a:lnTo>
                    <a:pt x="99243" y="217546"/>
                  </a:lnTo>
                  <a:lnTo>
                    <a:pt x="194543" y="338478"/>
                  </a:lnTo>
                  <a:lnTo>
                    <a:pt x="84784" y="338478"/>
                  </a:lnTo>
                  <a:lnTo>
                    <a:pt x="0" y="217546"/>
                  </a:lnTo>
                  <a:lnTo>
                    <a:pt x="95300" y="93328"/>
                  </a:lnTo>
                  <a:lnTo>
                    <a:pt x="196515" y="92671"/>
                  </a:lnTo>
                  <a:close/>
                  <a:moveTo>
                    <a:pt x="338478" y="85441"/>
                  </a:moveTo>
                  <a:cubicBezTo>
                    <a:pt x="261581" y="85441"/>
                    <a:pt x="195857" y="124876"/>
                    <a:pt x="195857" y="215575"/>
                  </a:cubicBezTo>
                  <a:cubicBezTo>
                    <a:pt x="195857" y="306274"/>
                    <a:pt x="261581" y="345708"/>
                    <a:pt x="338478" y="345708"/>
                  </a:cubicBezTo>
                  <a:cubicBezTo>
                    <a:pt x="415376" y="345708"/>
                    <a:pt x="481100" y="306274"/>
                    <a:pt x="481100" y="215575"/>
                  </a:cubicBezTo>
                  <a:cubicBezTo>
                    <a:pt x="481757" y="125533"/>
                    <a:pt x="415376" y="85441"/>
                    <a:pt x="338478" y="85441"/>
                  </a:cubicBezTo>
                  <a:close/>
                  <a:moveTo>
                    <a:pt x="291157" y="215575"/>
                  </a:moveTo>
                  <a:cubicBezTo>
                    <a:pt x="291157" y="180741"/>
                    <a:pt x="299701" y="139335"/>
                    <a:pt x="338478" y="139335"/>
                  </a:cubicBezTo>
                  <a:cubicBezTo>
                    <a:pt x="377256" y="139335"/>
                    <a:pt x="385800" y="180741"/>
                    <a:pt x="385800" y="215575"/>
                  </a:cubicBezTo>
                  <a:cubicBezTo>
                    <a:pt x="385800" y="250408"/>
                    <a:pt x="377256" y="291814"/>
                    <a:pt x="338478" y="291814"/>
                  </a:cubicBezTo>
                  <a:cubicBezTo>
                    <a:pt x="299701" y="291814"/>
                    <a:pt x="291157" y="250408"/>
                    <a:pt x="291157" y="215575"/>
                  </a:cubicBezTo>
                  <a:close/>
                  <a:moveTo>
                    <a:pt x="683529" y="85441"/>
                  </a:moveTo>
                  <a:cubicBezTo>
                    <a:pt x="651982" y="85441"/>
                    <a:pt x="627664" y="95300"/>
                    <a:pt x="606632" y="119618"/>
                  </a:cubicBezTo>
                  <a:lnTo>
                    <a:pt x="605318" y="92671"/>
                  </a:lnTo>
                  <a:lnTo>
                    <a:pt x="513962" y="92671"/>
                  </a:lnTo>
                  <a:lnTo>
                    <a:pt x="513962" y="337821"/>
                  </a:lnTo>
                  <a:lnTo>
                    <a:pt x="606632" y="337821"/>
                  </a:lnTo>
                  <a:lnTo>
                    <a:pt x="606632" y="197172"/>
                  </a:lnTo>
                  <a:cubicBezTo>
                    <a:pt x="606632" y="194543"/>
                    <a:pt x="600717" y="143935"/>
                    <a:pt x="646724" y="143935"/>
                  </a:cubicBezTo>
                  <a:cubicBezTo>
                    <a:pt x="675643" y="143935"/>
                    <a:pt x="681558" y="169568"/>
                    <a:pt x="682215" y="193886"/>
                  </a:cubicBezTo>
                  <a:lnTo>
                    <a:pt x="682215" y="337821"/>
                  </a:lnTo>
                  <a:lnTo>
                    <a:pt x="774886" y="337821"/>
                  </a:lnTo>
                  <a:lnTo>
                    <a:pt x="774886" y="173511"/>
                  </a:lnTo>
                  <a:cubicBezTo>
                    <a:pt x="774886" y="119618"/>
                    <a:pt x="736109" y="85441"/>
                    <a:pt x="683529" y="85441"/>
                  </a:cubicBezTo>
                  <a:close/>
                  <a:moveTo>
                    <a:pt x="815635" y="260924"/>
                  </a:moveTo>
                  <a:cubicBezTo>
                    <a:pt x="811034" y="336507"/>
                    <a:pt x="849154" y="345051"/>
                    <a:pt x="912249" y="345051"/>
                  </a:cubicBezTo>
                  <a:cubicBezTo>
                    <a:pt x="926051" y="345051"/>
                    <a:pt x="941167" y="344394"/>
                    <a:pt x="962199" y="340450"/>
                  </a:cubicBezTo>
                  <a:lnTo>
                    <a:pt x="962199" y="285242"/>
                  </a:lnTo>
                  <a:cubicBezTo>
                    <a:pt x="951683" y="286556"/>
                    <a:pt x="938538" y="286556"/>
                    <a:pt x="926708" y="286556"/>
                  </a:cubicBezTo>
                  <a:cubicBezTo>
                    <a:pt x="905019" y="286556"/>
                    <a:pt x="908963" y="255009"/>
                    <a:pt x="908963" y="248437"/>
                  </a:cubicBezTo>
                  <a:lnTo>
                    <a:pt x="908963" y="151165"/>
                  </a:lnTo>
                  <a:lnTo>
                    <a:pt x="962856" y="151165"/>
                  </a:lnTo>
                  <a:lnTo>
                    <a:pt x="962856" y="93328"/>
                  </a:lnTo>
                  <a:lnTo>
                    <a:pt x="908963" y="93328"/>
                  </a:lnTo>
                  <a:lnTo>
                    <a:pt x="908963" y="0"/>
                  </a:lnTo>
                  <a:lnTo>
                    <a:pt x="816292" y="120932"/>
                  </a:lnTo>
                  <a:lnTo>
                    <a:pt x="815635" y="260924"/>
                  </a:lnTo>
                  <a:close/>
                  <a:moveTo>
                    <a:pt x="1097591" y="92671"/>
                  </a:moveTo>
                  <a:lnTo>
                    <a:pt x="1006234" y="92671"/>
                  </a:lnTo>
                  <a:lnTo>
                    <a:pt x="1006234" y="337821"/>
                  </a:lnTo>
                  <a:lnTo>
                    <a:pt x="1098905" y="337821"/>
                  </a:lnTo>
                  <a:lnTo>
                    <a:pt x="1098905" y="239235"/>
                  </a:lnTo>
                  <a:cubicBezTo>
                    <a:pt x="1097591" y="192571"/>
                    <a:pt x="1114022" y="163653"/>
                    <a:pt x="1162657" y="162995"/>
                  </a:cubicBezTo>
                  <a:cubicBezTo>
                    <a:pt x="1169230" y="162995"/>
                    <a:pt x="1175145" y="162995"/>
                    <a:pt x="1182374" y="163653"/>
                  </a:cubicBezTo>
                  <a:lnTo>
                    <a:pt x="1182374" y="85441"/>
                  </a:lnTo>
                  <a:cubicBezTo>
                    <a:pt x="1141626" y="84784"/>
                    <a:pt x="1110735" y="97929"/>
                    <a:pt x="1100219" y="138678"/>
                  </a:cubicBezTo>
                  <a:lnTo>
                    <a:pt x="1099562" y="138678"/>
                  </a:lnTo>
                  <a:lnTo>
                    <a:pt x="1097591" y="92671"/>
                  </a:lnTo>
                  <a:close/>
                  <a:moveTo>
                    <a:pt x="1338140" y="85441"/>
                  </a:moveTo>
                  <a:cubicBezTo>
                    <a:pt x="1261243" y="85441"/>
                    <a:pt x="1195519" y="124876"/>
                    <a:pt x="1195519" y="215575"/>
                  </a:cubicBezTo>
                  <a:cubicBezTo>
                    <a:pt x="1195519" y="306274"/>
                    <a:pt x="1261243" y="345708"/>
                    <a:pt x="1338140" y="345708"/>
                  </a:cubicBezTo>
                  <a:cubicBezTo>
                    <a:pt x="1415037" y="345708"/>
                    <a:pt x="1480761" y="306274"/>
                    <a:pt x="1480761" y="215575"/>
                  </a:cubicBezTo>
                  <a:cubicBezTo>
                    <a:pt x="1480761" y="124876"/>
                    <a:pt x="1414380" y="85441"/>
                    <a:pt x="1338140" y="85441"/>
                  </a:cubicBezTo>
                  <a:close/>
                  <a:moveTo>
                    <a:pt x="1290819" y="215575"/>
                  </a:moveTo>
                  <a:cubicBezTo>
                    <a:pt x="1290819" y="180741"/>
                    <a:pt x="1299363" y="139335"/>
                    <a:pt x="1338140" y="139335"/>
                  </a:cubicBezTo>
                  <a:cubicBezTo>
                    <a:pt x="1376917" y="139335"/>
                    <a:pt x="1385461" y="180741"/>
                    <a:pt x="1385461" y="215575"/>
                  </a:cubicBezTo>
                  <a:cubicBezTo>
                    <a:pt x="1385461" y="250408"/>
                    <a:pt x="1376917" y="291814"/>
                    <a:pt x="1338140" y="291814"/>
                  </a:cubicBezTo>
                  <a:cubicBezTo>
                    <a:pt x="1298706" y="291814"/>
                    <a:pt x="1290819" y="250408"/>
                    <a:pt x="1290819" y="215575"/>
                  </a:cubicBezTo>
                  <a:close/>
                  <a:moveTo>
                    <a:pt x="1678590" y="85441"/>
                  </a:moveTo>
                  <a:cubicBezTo>
                    <a:pt x="1647043" y="85441"/>
                    <a:pt x="1622725" y="95300"/>
                    <a:pt x="1601693" y="119618"/>
                  </a:cubicBezTo>
                  <a:lnTo>
                    <a:pt x="1600379" y="92671"/>
                  </a:lnTo>
                  <a:lnTo>
                    <a:pt x="1509023" y="92671"/>
                  </a:lnTo>
                  <a:lnTo>
                    <a:pt x="1509023" y="337821"/>
                  </a:lnTo>
                  <a:lnTo>
                    <a:pt x="1601693" y="337821"/>
                  </a:lnTo>
                  <a:lnTo>
                    <a:pt x="1601693" y="197829"/>
                  </a:lnTo>
                  <a:cubicBezTo>
                    <a:pt x="1601693" y="195200"/>
                    <a:pt x="1595778" y="144593"/>
                    <a:pt x="1641785" y="144593"/>
                  </a:cubicBezTo>
                  <a:cubicBezTo>
                    <a:pt x="1670704" y="144593"/>
                    <a:pt x="1676619" y="170225"/>
                    <a:pt x="1677276" y="194543"/>
                  </a:cubicBezTo>
                  <a:lnTo>
                    <a:pt x="1677276" y="338478"/>
                  </a:lnTo>
                  <a:lnTo>
                    <a:pt x="1769947" y="338478"/>
                  </a:lnTo>
                  <a:lnTo>
                    <a:pt x="1769947" y="174169"/>
                  </a:lnTo>
                  <a:cubicBezTo>
                    <a:pt x="1770604" y="119618"/>
                    <a:pt x="1731170" y="85441"/>
                    <a:pt x="1678590" y="85441"/>
                  </a:cubicBezTo>
                  <a:close/>
                </a:path>
              </a:pathLst>
            </a:custGeom>
            <a:solidFill>
              <a:schemeClr val="accent1"/>
            </a:solidFill>
            <a:ln w="6540"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24116135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genda 6 topics">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48675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reihandform: Form 1">
            <a:extLst>
              <a:ext uri="{FF2B5EF4-FFF2-40B4-BE49-F238E27FC236}">
                <a16:creationId xmlns:a16="http://schemas.microsoft.com/office/drawing/2014/main" id="{C47704FF-0FC6-582B-45FB-EB5F5EC9E654}"/>
              </a:ext>
            </a:extLst>
          </p:cNvPr>
          <p:cNvSpPr/>
          <p:nvPr userDrawn="1"/>
        </p:nvSpPr>
        <p:spPr>
          <a:xfrm flipH="1">
            <a:off x="4134250" y="1"/>
            <a:ext cx="8057750" cy="6857999"/>
          </a:xfrm>
          <a:custGeom>
            <a:avLst/>
            <a:gdLst>
              <a:gd name="connsiteX0" fmla="*/ 8057750 w 8057750"/>
              <a:gd name="connsiteY0" fmla="*/ 0 h 6857999"/>
              <a:gd name="connsiteX1" fmla="*/ 1238943 w 8057750"/>
              <a:gd name="connsiteY1" fmla="*/ 0 h 6857999"/>
              <a:gd name="connsiteX2" fmla="*/ 0 w 8057750"/>
              <a:gd name="connsiteY2" fmla="*/ 1648913 h 6857999"/>
              <a:gd name="connsiteX3" fmla="*/ 0 w 8057750"/>
              <a:gd name="connsiteY3" fmla="*/ 6857999 h 6857999"/>
              <a:gd name="connsiteX4" fmla="*/ 2825936 w 8057750"/>
              <a:gd name="connsiteY4" fmla="*/ 6857999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7750" h="6857999">
                <a:moveTo>
                  <a:pt x="8057750" y="0"/>
                </a:moveTo>
                <a:lnTo>
                  <a:pt x="1238943" y="0"/>
                </a:lnTo>
                <a:lnTo>
                  <a:pt x="0" y="1648913"/>
                </a:lnTo>
                <a:lnTo>
                  <a:pt x="0" y="6857999"/>
                </a:lnTo>
                <a:lnTo>
                  <a:pt x="2825936" y="6857999"/>
                </a:lnTo>
                <a:close/>
              </a:path>
            </a:pathLst>
          </a:custGeom>
          <a:solidFill>
            <a:schemeClr val="bg2">
              <a:alpha val="45000"/>
            </a:schemeClr>
          </a:solidFill>
          <a:ln w="6540" cap="flat">
            <a:noFill/>
            <a:prstDash val="solid"/>
            <a:miter/>
          </a:ln>
        </p:spPr>
        <p:txBody>
          <a:bodyPr wrap="square" rtlCol="0" anchor="ctr">
            <a:noAutofit/>
          </a:bodyPr>
          <a:lstStyle/>
          <a:p>
            <a:pPr lvl="0"/>
            <a:endParaRPr lang="en-GB" dirty="0"/>
          </a:p>
        </p:txBody>
      </p:sp>
      <p:sp>
        <p:nvSpPr>
          <p:cNvPr id="3" name="Freihandform: Form 2">
            <a:extLst>
              <a:ext uri="{FF2B5EF4-FFF2-40B4-BE49-F238E27FC236}">
                <a16:creationId xmlns:a16="http://schemas.microsoft.com/office/drawing/2014/main" id="{96FB8F27-0135-C7C9-0DD2-3DCC88A4730A}"/>
              </a:ext>
            </a:extLst>
          </p:cNvPr>
          <p:cNvSpPr/>
          <p:nvPr userDrawn="1"/>
        </p:nvSpPr>
        <p:spPr>
          <a:xfrm>
            <a:off x="0" y="0"/>
            <a:ext cx="4249196" cy="6858000"/>
          </a:xfrm>
          <a:custGeom>
            <a:avLst/>
            <a:gdLst>
              <a:gd name="connsiteX0" fmla="*/ 0 w 4249196"/>
              <a:gd name="connsiteY0" fmla="*/ 0 h 6858000"/>
              <a:gd name="connsiteX1" fmla="*/ 2699439 w 4249196"/>
              <a:gd name="connsiteY1" fmla="*/ 0 h 6858000"/>
              <a:gd name="connsiteX2" fmla="*/ 4249196 w 4249196"/>
              <a:gd name="connsiteY2" fmla="*/ 2062578 h 6858000"/>
              <a:gd name="connsiteX3" fmla="*/ 956514 w 4249196"/>
              <a:gd name="connsiteY3" fmla="*/ 6858000 h 6858000"/>
              <a:gd name="connsiteX4" fmla="*/ 0 w 424919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9196" h="6858000">
                <a:moveTo>
                  <a:pt x="0" y="0"/>
                </a:moveTo>
                <a:lnTo>
                  <a:pt x="2699439" y="0"/>
                </a:lnTo>
                <a:lnTo>
                  <a:pt x="4249196" y="2062578"/>
                </a:lnTo>
                <a:lnTo>
                  <a:pt x="956514" y="6858000"/>
                </a:lnTo>
                <a:lnTo>
                  <a:pt x="0" y="6858000"/>
                </a:lnTo>
                <a:close/>
              </a:path>
            </a:pathLst>
          </a:custGeom>
          <a:gradFill>
            <a:gsLst>
              <a:gs pos="11000">
                <a:schemeClr val="accent1"/>
              </a:gs>
              <a:gs pos="100000">
                <a:schemeClr val="accent3"/>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7" name="Gruppieren 6">
            <a:extLst>
              <a:ext uri="{FF2B5EF4-FFF2-40B4-BE49-F238E27FC236}">
                <a16:creationId xmlns:a16="http://schemas.microsoft.com/office/drawing/2014/main" id="{95E6AD5D-7221-E3C6-DEDD-7632BB58CE18}"/>
              </a:ext>
            </a:extLst>
          </p:cNvPr>
          <p:cNvGrpSpPr/>
          <p:nvPr userDrawn="1"/>
        </p:nvGrpSpPr>
        <p:grpSpPr>
          <a:xfrm>
            <a:off x="9938597" y="441325"/>
            <a:ext cx="1558078" cy="295275"/>
            <a:chOff x="9938597" y="441325"/>
            <a:chExt cx="1558078" cy="295275"/>
          </a:xfrm>
        </p:grpSpPr>
        <p:sp>
          <p:nvSpPr>
            <p:cNvPr id="9" name="Freeform: Shape 10">
              <a:extLst>
                <a:ext uri="{FF2B5EF4-FFF2-40B4-BE49-F238E27FC236}">
                  <a16:creationId xmlns:a16="http://schemas.microsoft.com/office/drawing/2014/main" id="{9C4AB1CA-9EDA-8DD1-E1E4-3BC75A6E6AB7}"/>
                </a:ext>
              </a:extLst>
            </p:cNvPr>
            <p:cNvSpPr/>
            <p:nvPr/>
          </p:nvSpPr>
          <p:spPr>
            <a:xfrm>
              <a:off x="9938597" y="441325"/>
              <a:ext cx="77518" cy="289100"/>
            </a:xfrm>
            <a:custGeom>
              <a:avLst/>
              <a:gdLst>
                <a:gd name="connsiteX0" fmla="*/ 92671 w 92670"/>
                <a:gd name="connsiteY0" fmla="*/ 0 h 338478"/>
                <a:gd name="connsiteX1" fmla="*/ 0 w 92670"/>
                <a:gd name="connsiteY1" fmla="*/ 0 h 338478"/>
                <a:gd name="connsiteX2" fmla="*/ 0 w 92670"/>
                <a:gd name="connsiteY2" fmla="*/ 338478 h 338478"/>
                <a:gd name="connsiteX3" fmla="*/ 92671 w 92670"/>
                <a:gd name="connsiteY3" fmla="*/ 217546 h 338478"/>
              </a:gdLst>
              <a:ahLst/>
              <a:cxnLst>
                <a:cxn ang="0">
                  <a:pos x="connsiteX0" y="connsiteY0"/>
                </a:cxn>
                <a:cxn ang="0">
                  <a:pos x="connsiteX1" y="connsiteY1"/>
                </a:cxn>
                <a:cxn ang="0">
                  <a:pos x="connsiteX2" y="connsiteY2"/>
                </a:cxn>
                <a:cxn ang="0">
                  <a:pos x="connsiteX3" y="connsiteY3"/>
                </a:cxn>
              </a:cxnLst>
              <a:rect l="l" t="t" r="r" b="b"/>
              <a:pathLst>
                <a:path w="92670" h="338478">
                  <a:moveTo>
                    <a:pt x="92671" y="0"/>
                  </a:moveTo>
                  <a:lnTo>
                    <a:pt x="0" y="0"/>
                  </a:lnTo>
                  <a:lnTo>
                    <a:pt x="0" y="338478"/>
                  </a:lnTo>
                  <a:lnTo>
                    <a:pt x="92671" y="217546"/>
                  </a:lnTo>
                  <a:close/>
                </a:path>
              </a:pathLst>
            </a:custGeom>
            <a:solidFill>
              <a:schemeClr val="accent3"/>
            </a:solidFill>
            <a:ln w="6540" cap="flat">
              <a:noFill/>
              <a:prstDash val="solid"/>
              <a:miter/>
            </a:ln>
          </p:spPr>
          <p:txBody>
            <a:bodyPr rtlCol="0" anchor="ctr"/>
            <a:lstStyle/>
            <a:p>
              <a:endParaRPr lang="en-GB"/>
            </a:p>
          </p:txBody>
        </p:sp>
        <p:sp>
          <p:nvSpPr>
            <p:cNvPr id="10" name="Freeform: Shape 11">
              <a:extLst>
                <a:ext uri="{FF2B5EF4-FFF2-40B4-BE49-F238E27FC236}">
                  <a16:creationId xmlns:a16="http://schemas.microsoft.com/office/drawing/2014/main" id="{A6C3246B-613A-02A5-6E13-F2EB67F70B94}"/>
                </a:ext>
              </a:extLst>
            </p:cNvPr>
            <p:cNvSpPr/>
            <p:nvPr/>
          </p:nvSpPr>
          <p:spPr>
            <a:xfrm>
              <a:off x="10016115" y="441325"/>
              <a:ext cx="1480560" cy="295275"/>
            </a:xfrm>
            <a:custGeom>
              <a:avLst/>
              <a:gdLst>
                <a:gd name="connsiteX0" fmla="*/ 196515 w 1769954"/>
                <a:gd name="connsiteY0" fmla="*/ 92671 h 345708"/>
                <a:gd name="connsiteX1" fmla="*/ 99243 w 1769954"/>
                <a:gd name="connsiteY1" fmla="*/ 217546 h 345708"/>
                <a:gd name="connsiteX2" fmla="*/ 194543 w 1769954"/>
                <a:gd name="connsiteY2" fmla="*/ 338478 h 345708"/>
                <a:gd name="connsiteX3" fmla="*/ 84784 w 1769954"/>
                <a:gd name="connsiteY3" fmla="*/ 338478 h 345708"/>
                <a:gd name="connsiteX4" fmla="*/ 0 w 1769954"/>
                <a:gd name="connsiteY4" fmla="*/ 217546 h 345708"/>
                <a:gd name="connsiteX5" fmla="*/ 95300 w 1769954"/>
                <a:gd name="connsiteY5" fmla="*/ 93328 h 345708"/>
                <a:gd name="connsiteX6" fmla="*/ 196515 w 1769954"/>
                <a:gd name="connsiteY6" fmla="*/ 92671 h 345708"/>
                <a:gd name="connsiteX7" fmla="*/ 338478 w 1769954"/>
                <a:gd name="connsiteY7" fmla="*/ 85441 h 345708"/>
                <a:gd name="connsiteX8" fmla="*/ 195857 w 1769954"/>
                <a:gd name="connsiteY8" fmla="*/ 215575 h 345708"/>
                <a:gd name="connsiteX9" fmla="*/ 338478 w 1769954"/>
                <a:gd name="connsiteY9" fmla="*/ 345708 h 345708"/>
                <a:gd name="connsiteX10" fmla="*/ 481100 w 1769954"/>
                <a:gd name="connsiteY10" fmla="*/ 215575 h 345708"/>
                <a:gd name="connsiteX11" fmla="*/ 338478 w 1769954"/>
                <a:gd name="connsiteY11" fmla="*/ 85441 h 345708"/>
                <a:gd name="connsiteX12" fmla="*/ 291157 w 1769954"/>
                <a:gd name="connsiteY12" fmla="*/ 215575 h 345708"/>
                <a:gd name="connsiteX13" fmla="*/ 338478 w 1769954"/>
                <a:gd name="connsiteY13" fmla="*/ 139335 h 345708"/>
                <a:gd name="connsiteX14" fmla="*/ 385800 w 1769954"/>
                <a:gd name="connsiteY14" fmla="*/ 215575 h 345708"/>
                <a:gd name="connsiteX15" fmla="*/ 338478 w 1769954"/>
                <a:gd name="connsiteY15" fmla="*/ 291814 h 345708"/>
                <a:gd name="connsiteX16" fmla="*/ 291157 w 1769954"/>
                <a:gd name="connsiteY16" fmla="*/ 215575 h 345708"/>
                <a:gd name="connsiteX17" fmla="*/ 683529 w 1769954"/>
                <a:gd name="connsiteY17" fmla="*/ 85441 h 345708"/>
                <a:gd name="connsiteX18" fmla="*/ 606632 w 1769954"/>
                <a:gd name="connsiteY18" fmla="*/ 119618 h 345708"/>
                <a:gd name="connsiteX19" fmla="*/ 605318 w 1769954"/>
                <a:gd name="connsiteY19" fmla="*/ 92671 h 345708"/>
                <a:gd name="connsiteX20" fmla="*/ 513962 w 1769954"/>
                <a:gd name="connsiteY20" fmla="*/ 92671 h 345708"/>
                <a:gd name="connsiteX21" fmla="*/ 513962 w 1769954"/>
                <a:gd name="connsiteY21" fmla="*/ 337821 h 345708"/>
                <a:gd name="connsiteX22" fmla="*/ 606632 w 1769954"/>
                <a:gd name="connsiteY22" fmla="*/ 337821 h 345708"/>
                <a:gd name="connsiteX23" fmla="*/ 606632 w 1769954"/>
                <a:gd name="connsiteY23" fmla="*/ 197172 h 345708"/>
                <a:gd name="connsiteX24" fmla="*/ 646724 w 1769954"/>
                <a:gd name="connsiteY24" fmla="*/ 143935 h 345708"/>
                <a:gd name="connsiteX25" fmla="*/ 682215 w 1769954"/>
                <a:gd name="connsiteY25" fmla="*/ 193886 h 345708"/>
                <a:gd name="connsiteX26" fmla="*/ 682215 w 1769954"/>
                <a:gd name="connsiteY26" fmla="*/ 337821 h 345708"/>
                <a:gd name="connsiteX27" fmla="*/ 774886 w 1769954"/>
                <a:gd name="connsiteY27" fmla="*/ 337821 h 345708"/>
                <a:gd name="connsiteX28" fmla="*/ 774886 w 1769954"/>
                <a:gd name="connsiteY28" fmla="*/ 173511 h 345708"/>
                <a:gd name="connsiteX29" fmla="*/ 683529 w 1769954"/>
                <a:gd name="connsiteY29" fmla="*/ 85441 h 345708"/>
                <a:gd name="connsiteX30" fmla="*/ 815635 w 1769954"/>
                <a:gd name="connsiteY30" fmla="*/ 260924 h 345708"/>
                <a:gd name="connsiteX31" fmla="*/ 912249 w 1769954"/>
                <a:gd name="connsiteY31" fmla="*/ 345051 h 345708"/>
                <a:gd name="connsiteX32" fmla="*/ 962199 w 1769954"/>
                <a:gd name="connsiteY32" fmla="*/ 340450 h 345708"/>
                <a:gd name="connsiteX33" fmla="*/ 962199 w 1769954"/>
                <a:gd name="connsiteY33" fmla="*/ 285242 h 345708"/>
                <a:gd name="connsiteX34" fmla="*/ 926708 w 1769954"/>
                <a:gd name="connsiteY34" fmla="*/ 286556 h 345708"/>
                <a:gd name="connsiteX35" fmla="*/ 908963 w 1769954"/>
                <a:gd name="connsiteY35" fmla="*/ 248437 h 345708"/>
                <a:gd name="connsiteX36" fmla="*/ 908963 w 1769954"/>
                <a:gd name="connsiteY36" fmla="*/ 151165 h 345708"/>
                <a:gd name="connsiteX37" fmla="*/ 962856 w 1769954"/>
                <a:gd name="connsiteY37" fmla="*/ 151165 h 345708"/>
                <a:gd name="connsiteX38" fmla="*/ 962856 w 1769954"/>
                <a:gd name="connsiteY38" fmla="*/ 93328 h 345708"/>
                <a:gd name="connsiteX39" fmla="*/ 908963 w 1769954"/>
                <a:gd name="connsiteY39" fmla="*/ 93328 h 345708"/>
                <a:gd name="connsiteX40" fmla="*/ 908963 w 1769954"/>
                <a:gd name="connsiteY40" fmla="*/ 0 h 345708"/>
                <a:gd name="connsiteX41" fmla="*/ 816292 w 1769954"/>
                <a:gd name="connsiteY41" fmla="*/ 120932 h 345708"/>
                <a:gd name="connsiteX42" fmla="*/ 815635 w 1769954"/>
                <a:gd name="connsiteY42" fmla="*/ 260924 h 345708"/>
                <a:gd name="connsiteX43" fmla="*/ 1097591 w 1769954"/>
                <a:gd name="connsiteY43" fmla="*/ 92671 h 345708"/>
                <a:gd name="connsiteX44" fmla="*/ 1006234 w 1769954"/>
                <a:gd name="connsiteY44" fmla="*/ 92671 h 345708"/>
                <a:gd name="connsiteX45" fmla="*/ 1006234 w 1769954"/>
                <a:gd name="connsiteY45" fmla="*/ 337821 h 345708"/>
                <a:gd name="connsiteX46" fmla="*/ 1098905 w 1769954"/>
                <a:gd name="connsiteY46" fmla="*/ 337821 h 345708"/>
                <a:gd name="connsiteX47" fmla="*/ 1098905 w 1769954"/>
                <a:gd name="connsiteY47" fmla="*/ 239235 h 345708"/>
                <a:gd name="connsiteX48" fmla="*/ 1162657 w 1769954"/>
                <a:gd name="connsiteY48" fmla="*/ 162995 h 345708"/>
                <a:gd name="connsiteX49" fmla="*/ 1182374 w 1769954"/>
                <a:gd name="connsiteY49" fmla="*/ 163653 h 345708"/>
                <a:gd name="connsiteX50" fmla="*/ 1182374 w 1769954"/>
                <a:gd name="connsiteY50" fmla="*/ 85441 h 345708"/>
                <a:gd name="connsiteX51" fmla="*/ 1100219 w 1769954"/>
                <a:gd name="connsiteY51" fmla="*/ 138678 h 345708"/>
                <a:gd name="connsiteX52" fmla="*/ 1099562 w 1769954"/>
                <a:gd name="connsiteY52" fmla="*/ 138678 h 345708"/>
                <a:gd name="connsiteX53" fmla="*/ 1097591 w 1769954"/>
                <a:gd name="connsiteY53" fmla="*/ 92671 h 345708"/>
                <a:gd name="connsiteX54" fmla="*/ 1338140 w 1769954"/>
                <a:gd name="connsiteY54" fmla="*/ 85441 h 345708"/>
                <a:gd name="connsiteX55" fmla="*/ 1195519 w 1769954"/>
                <a:gd name="connsiteY55" fmla="*/ 215575 h 345708"/>
                <a:gd name="connsiteX56" fmla="*/ 1338140 w 1769954"/>
                <a:gd name="connsiteY56" fmla="*/ 345708 h 345708"/>
                <a:gd name="connsiteX57" fmla="*/ 1480761 w 1769954"/>
                <a:gd name="connsiteY57" fmla="*/ 215575 h 345708"/>
                <a:gd name="connsiteX58" fmla="*/ 1338140 w 1769954"/>
                <a:gd name="connsiteY58" fmla="*/ 85441 h 345708"/>
                <a:gd name="connsiteX59" fmla="*/ 1290819 w 1769954"/>
                <a:gd name="connsiteY59" fmla="*/ 215575 h 345708"/>
                <a:gd name="connsiteX60" fmla="*/ 1338140 w 1769954"/>
                <a:gd name="connsiteY60" fmla="*/ 139335 h 345708"/>
                <a:gd name="connsiteX61" fmla="*/ 1385461 w 1769954"/>
                <a:gd name="connsiteY61" fmla="*/ 215575 h 345708"/>
                <a:gd name="connsiteX62" fmla="*/ 1338140 w 1769954"/>
                <a:gd name="connsiteY62" fmla="*/ 291814 h 345708"/>
                <a:gd name="connsiteX63" fmla="*/ 1290819 w 1769954"/>
                <a:gd name="connsiteY63" fmla="*/ 215575 h 345708"/>
                <a:gd name="connsiteX64" fmla="*/ 1678590 w 1769954"/>
                <a:gd name="connsiteY64" fmla="*/ 85441 h 345708"/>
                <a:gd name="connsiteX65" fmla="*/ 1601693 w 1769954"/>
                <a:gd name="connsiteY65" fmla="*/ 119618 h 345708"/>
                <a:gd name="connsiteX66" fmla="*/ 1600379 w 1769954"/>
                <a:gd name="connsiteY66" fmla="*/ 92671 h 345708"/>
                <a:gd name="connsiteX67" fmla="*/ 1509023 w 1769954"/>
                <a:gd name="connsiteY67" fmla="*/ 92671 h 345708"/>
                <a:gd name="connsiteX68" fmla="*/ 1509023 w 1769954"/>
                <a:gd name="connsiteY68" fmla="*/ 337821 h 345708"/>
                <a:gd name="connsiteX69" fmla="*/ 1601693 w 1769954"/>
                <a:gd name="connsiteY69" fmla="*/ 337821 h 345708"/>
                <a:gd name="connsiteX70" fmla="*/ 1601693 w 1769954"/>
                <a:gd name="connsiteY70" fmla="*/ 197829 h 345708"/>
                <a:gd name="connsiteX71" fmla="*/ 1641785 w 1769954"/>
                <a:gd name="connsiteY71" fmla="*/ 144593 h 345708"/>
                <a:gd name="connsiteX72" fmla="*/ 1677276 w 1769954"/>
                <a:gd name="connsiteY72" fmla="*/ 194543 h 345708"/>
                <a:gd name="connsiteX73" fmla="*/ 1677276 w 1769954"/>
                <a:gd name="connsiteY73" fmla="*/ 338478 h 345708"/>
                <a:gd name="connsiteX74" fmla="*/ 1769947 w 1769954"/>
                <a:gd name="connsiteY74" fmla="*/ 338478 h 345708"/>
                <a:gd name="connsiteX75" fmla="*/ 1769947 w 1769954"/>
                <a:gd name="connsiteY75" fmla="*/ 174169 h 345708"/>
                <a:gd name="connsiteX76" fmla="*/ 1678590 w 1769954"/>
                <a:gd name="connsiteY76" fmla="*/ 85441 h 34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69954" h="345708">
                  <a:moveTo>
                    <a:pt x="196515" y="92671"/>
                  </a:moveTo>
                  <a:lnTo>
                    <a:pt x="99243" y="217546"/>
                  </a:lnTo>
                  <a:lnTo>
                    <a:pt x="194543" y="338478"/>
                  </a:lnTo>
                  <a:lnTo>
                    <a:pt x="84784" y="338478"/>
                  </a:lnTo>
                  <a:lnTo>
                    <a:pt x="0" y="217546"/>
                  </a:lnTo>
                  <a:lnTo>
                    <a:pt x="95300" y="93328"/>
                  </a:lnTo>
                  <a:lnTo>
                    <a:pt x="196515" y="92671"/>
                  </a:lnTo>
                  <a:close/>
                  <a:moveTo>
                    <a:pt x="338478" y="85441"/>
                  </a:moveTo>
                  <a:cubicBezTo>
                    <a:pt x="261581" y="85441"/>
                    <a:pt x="195857" y="124876"/>
                    <a:pt x="195857" y="215575"/>
                  </a:cubicBezTo>
                  <a:cubicBezTo>
                    <a:pt x="195857" y="306274"/>
                    <a:pt x="261581" y="345708"/>
                    <a:pt x="338478" y="345708"/>
                  </a:cubicBezTo>
                  <a:cubicBezTo>
                    <a:pt x="415376" y="345708"/>
                    <a:pt x="481100" y="306274"/>
                    <a:pt x="481100" y="215575"/>
                  </a:cubicBezTo>
                  <a:cubicBezTo>
                    <a:pt x="481757" y="125533"/>
                    <a:pt x="415376" y="85441"/>
                    <a:pt x="338478" y="85441"/>
                  </a:cubicBezTo>
                  <a:close/>
                  <a:moveTo>
                    <a:pt x="291157" y="215575"/>
                  </a:moveTo>
                  <a:cubicBezTo>
                    <a:pt x="291157" y="180741"/>
                    <a:pt x="299701" y="139335"/>
                    <a:pt x="338478" y="139335"/>
                  </a:cubicBezTo>
                  <a:cubicBezTo>
                    <a:pt x="377256" y="139335"/>
                    <a:pt x="385800" y="180741"/>
                    <a:pt x="385800" y="215575"/>
                  </a:cubicBezTo>
                  <a:cubicBezTo>
                    <a:pt x="385800" y="250408"/>
                    <a:pt x="377256" y="291814"/>
                    <a:pt x="338478" y="291814"/>
                  </a:cubicBezTo>
                  <a:cubicBezTo>
                    <a:pt x="299701" y="291814"/>
                    <a:pt x="291157" y="250408"/>
                    <a:pt x="291157" y="215575"/>
                  </a:cubicBezTo>
                  <a:close/>
                  <a:moveTo>
                    <a:pt x="683529" y="85441"/>
                  </a:moveTo>
                  <a:cubicBezTo>
                    <a:pt x="651982" y="85441"/>
                    <a:pt x="627664" y="95300"/>
                    <a:pt x="606632" y="119618"/>
                  </a:cubicBezTo>
                  <a:lnTo>
                    <a:pt x="605318" y="92671"/>
                  </a:lnTo>
                  <a:lnTo>
                    <a:pt x="513962" y="92671"/>
                  </a:lnTo>
                  <a:lnTo>
                    <a:pt x="513962" y="337821"/>
                  </a:lnTo>
                  <a:lnTo>
                    <a:pt x="606632" y="337821"/>
                  </a:lnTo>
                  <a:lnTo>
                    <a:pt x="606632" y="197172"/>
                  </a:lnTo>
                  <a:cubicBezTo>
                    <a:pt x="606632" y="194543"/>
                    <a:pt x="600717" y="143935"/>
                    <a:pt x="646724" y="143935"/>
                  </a:cubicBezTo>
                  <a:cubicBezTo>
                    <a:pt x="675643" y="143935"/>
                    <a:pt x="681558" y="169568"/>
                    <a:pt x="682215" y="193886"/>
                  </a:cubicBezTo>
                  <a:lnTo>
                    <a:pt x="682215" y="337821"/>
                  </a:lnTo>
                  <a:lnTo>
                    <a:pt x="774886" y="337821"/>
                  </a:lnTo>
                  <a:lnTo>
                    <a:pt x="774886" y="173511"/>
                  </a:lnTo>
                  <a:cubicBezTo>
                    <a:pt x="774886" y="119618"/>
                    <a:pt x="736109" y="85441"/>
                    <a:pt x="683529" y="85441"/>
                  </a:cubicBezTo>
                  <a:close/>
                  <a:moveTo>
                    <a:pt x="815635" y="260924"/>
                  </a:moveTo>
                  <a:cubicBezTo>
                    <a:pt x="811034" y="336507"/>
                    <a:pt x="849154" y="345051"/>
                    <a:pt x="912249" y="345051"/>
                  </a:cubicBezTo>
                  <a:cubicBezTo>
                    <a:pt x="926051" y="345051"/>
                    <a:pt x="941167" y="344394"/>
                    <a:pt x="962199" y="340450"/>
                  </a:cubicBezTo>
                  <a:lnTo>
                    <a:pt x="962199" y="285242"/>
                  </a:lnTo>
                  <a:cubicBezTo>
                    <a:pt x="951683" y="286556"/>
                    <a:pt x="938538" y="286556"/>
                    <a:pt x="926708" y="286556"/>
                  </a:cubicBezTo>
                  <a:cubicBezTo>
                    <a:pt x="905019" y="286556"/>
                    <a:pt x="908963" y="255009"/>
                    <a:pt x="908963" y="248437"/>
                  </a:cubicBezTo>
                  <a:lnTo>
                    <a:pt x="908963" y="151165"/>
                  </a:lnTo>
                  <a:lnTo>
                    <a:pt x="962856" y="151165"/>
                  </a:lnTo>
                  <a:lnTo>
                    <a:pt x="962856" y="93328"/>
                  </a:lnTo>
                  <a:lnTo>
                    <a:pt x="908963" y="93328"/>
                  </a:lnTo>
                  <a:lnTo>
                    <a:pt x="908963" y="0"/>
                  </a:lnTo>
                  <a:lnTo>
                    <a:pt x="816292" y="120932"/>
                  </a:lnTo>
                  <a:lnTo>
                    <a:pt x="815635" y="260924"/>
                  </a:lnTo>
                  <a:close/>
                  <a:moveTo>
                    <a:pt x="1097591" y="92671"/>
                  </a:moveTo>
                  <a:lnTo>
                    <a:pt x="1006234" y="92671"/>
                  </a:lnTo>
                  <a:lnTo>
                    <a:pt x="1006234" y="337821"/>
                  </a:lnTo>
                  <a:lnTo>
                    <a:pt x="1098905" y="337821"/>
                  </a:lnTo>
                  <a:lnTo>
                    <a:pt x="1098905" y="239235"/>
                  </a:lnTo>
                  <a:cubicBezTo>
                    <a:pt x="1097591" y="192571"/>
                    <a:pt x="1114022" y="163653"/>
                    <a:pt x="1162657" y="162995"/>
                  </a:cubicBezTo>
                  <a:cubicBezTo>
                    <a:pt x="1169230" y="162995"/>
                    <a:pt x="1175145" y="162995"/>
                    <a:pt x="1182374" y="163653"/>
                  </a:cubicBezTo>
                  <a:lnTo>
                    <a:pt x="1182374" y="85441"/>
                  </a:lnTo>
                  <a:cubicBezTo>
                    <a:pt x="1141626" y="84784"/>
                    <a:pt x="1110735" y="97929"/>
                    <a:pt x="1100219" y="138678"/>
                  </a:cubicBezTo>
                  <a:lnTo>
                    <a:pt x="1099562" y="138678"/>
                  </a:lnTo>
                  <a:lnTo>
                    <a:pt x="1097591" y="92671"/>
                  </a:lnTo>
                  <a:close/>
                  <a:moveTo>
                    <a:pt x="1338140" y="85441"/>
                  </a:moveTo>
                  <a:cubicBezTo>
                    <a:pt x="1261243" y="85441"/>
                    <a:pt x="1195519" y="124876"/>
                    <a:pt x="1195519" y="215575"/>
                  </a:cubicBezTo>
                  <a:cubicBezTo>
                    <a:pt x="1195519" y="306274"/>
                    <a:pt x="1261243" y="345708"/>
                    <a:pt x="1338140" y="345708"/>
                  </a:cubicBezTo>
                  <a:cubicBezTo>
                    <a:pt x="1415037" y="345708"/>
                    <a:pt x="1480761" y="306274"/>
                    <a:pt x="1480761" y="215575"/>
                  </a:cubicBezTo>
                  <a:cubicBezTo>
                    <a:pt x="1480761" y="124876"/>
                    <a:pt x="1414380" y="85441"/>
                    <a:pt x="1338140" y="85441"/>
                  </a:cubicBezTo>
                  <a:close/>
                  <a:moveTo>
                    <a:pt x="1290819" y="215575"/>
                  </a:moveTo>
                  <a:cubicBezTo>
                    <a:pt x="1290819" y="180741"/>
                    <a:pt x="1299363" y="139335"/>
                    <a:pt x="1338140" y="139335"/>
                  </a:cubicBezTo>
                  <a:cubicBezTo>
                    <a:pt x="1376917" y="139335"/>
                    <a:pt x="1385461" y="180741"/>
                    <a:pt x="1385461" y="215575"/>
                  </a:cubicBezTo>
                  <a:cubicBezTo>
                    <a:pt x="1385461" y="250408"/>
                    <a:pt x="1376917" y="291814"/>
                    <a:pt x="1338140" y="291814"/>
                  </a:cubicBezTo>
                  <a:cubicBezTo>
                    <a:pt x="1298706" y="291814"/>
                    <a:pt x="1290819" y="250408"/>
                    <a:pt x="1290819" y="215575"/>
                  </a:cubicBezTo>
                  <a:close/>
                  <a:moveTo>
                    <a:pt x="1678590" y="85441"/>
                  </a:moveTo>
                  <a:cubicBezTo>
                    <a:pt x="1647043" y="85441"/>
                    <a:pt x="1622725" y="95300"/>
                    <a:pt x="1601693" y="119618"/>
                  </a:cubicBezTo>
                  <a:lnTo>
                    <a:pt x="1600379" y="92671"/>
                  </a:lnTo>
                  <a:lnTo>
                    <a:pt x="1509023" y="92671"/>
                  </a:lnTo>
                  <a:lnTo>
                    <a:pt x="1509023" y="337821"/>
                  </a:lnTo>
                  <a:lnTo>
                    <a:pt x="1601693" y="337821"/>
                  </a:lnTo>
                  <a:lnTo>
                    <a:pt x="1601693" y="197829"/>
                  </a:lnTo>
                  <a:cubicBezTo>
                    <a:pt x="1601693" y="195200"/>
                    <a:pt x="1595778" y="144593"/>
                    <a:pt x="1641785" y="144593"/>
                  </a:cubicBezTo>
                  <a:cubicBezTo>
                    <a:pt x="1670704" y="144593"/>
                    <a:pt x="1676619" y="170225"/>
                    <a:pt x="1677276" y="194543"/>
                  </a:cubicBezTo>
                  <a:lnTo>
                    <a:pt x="1677276" y="338478"/>
                  </a:lnTo>
                  <a:lnTo>
                    <a:pt x="1769947" y="338478"/>
                  </a:lnTo>
                  <a:lnTo>
                    <a:pt x="1769947" y="174169"/>
                  </a:lnTo>
                  <a:cubicBezTo>
                    <a:pt x="1770604" y="119618"/>
                    <a:pt x="1731170" y="85441"/>
                    <a:pt x="1678590" y="85441"/>
                  </a:cubicBezTo>
                  <a:close/>
                </a:path>
              </a:pathLst>
            </a:custGeom>
            <a:solidFill>
              <a:schemeClr val="accent1"/>
            </a:solidFill>
            <a:ln w="6540" cap="flat">
              <a:noFill/>
              <a:prstDash val="solid"/>
              <a:miter/>
            </a:ln>
          </p:spPr>
          <p:txBody>
            <a:bodyPr rtlCol="0" anchor="ctr"/>
            <a:lstStyle/>
            <a:p>
              <a:endParaRPr lang="en-GB" dirty="0"/>
            </a:p>
          </p:txBody>
        </p:sp>
      </p:gr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13" name="Textplatzhalter 12">
            <a:extLst>
              <a:ext uri="{FF2B5EF4-FFF2-40B4-BE49-F238E27FC236}">
                <a16:creationId xmlns:a16="http://schemas.microsoft.com/office/drawing/2014/main" id="{E79958EE-4B64-EB3B-3429-5F9553CFC837}"/>
              </a:ext>
            </a:extLst>
          </p:cNvPr>
          <p:cNvSpPr>
            <a:spLocks noGrp="1"/>
          </p:cNvSpPr>
          <p:nvPr>
            <p:ph type="body" sz="quarter" idx="13" hasCustomPrompt="1"/>
          </p:nvPr>
        </p:nvSpPr>
        <p:spPr>
          <a:xfrm>
            <a:off x="5346700" y="1628775"/>
            <a:ext cx="603250" cy="307777"/>
          </a:xfrm>
        </p:spPr>
        <p:txBody>
          <a:bodyPr wrap="square">
            <a:spAutoFit/>
          </a:bodyPr>
          <a:lstStyle>
            <a:lvl1pPr marL="0" indent="0">
              <a:buNone/>
              <a:defRPr>
                <a:solidFill>
                  <a:schemeClr val="accent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01</a:t>
            </a:r>
            <a:endParaRPr lang="en-US" dirty="0"/>
          </a:p>
        </p:txBody>
      </p:sp>
      <p:sp>
        <p:nvSpPr>
          <p:cNvPr id="15" name="Textplatzhalter 12">
            <a:extLst>
              <a:ext uri="{FF2B5EF4-FFF2-40B4-BE49-F238E27FC236}">
                <a16:creationId xmlns:a16="http://schemas.microsoft.com/office/drawing/2014/main" id="{257972CF-2468-368B-22A6-D486956DF40A}"/>
              </a:ext>
            </a:extLst>
          </p:cNvPr>
          <p:cNvSpPr>
            <a:spLocks noGrp="1"/>
          </p:cNvSpPr>
          <p:nvPr>
            <p:ph type="body" sz="quarter" idx="14" hasCustomPrompt="1"/>
          </p:nvPr>
        </p:nvSpPr>
        <p:spPr>
          <a:xfrm>
            <a:off x="6085295" y="1628775"/>
            <a:ext cx="5408998" cy="307777"/>
          </a:xfrm>
        </p:spPr>
        <p:txBody>
          <a:bodyPr wrap="square">
            <a:spAutoFit/>
          </a:bodyPr>
          <a:lstStyle>
            <a:lvl1pPr marL="0" indent="0">
              <a:buNone/>
              <a:defRPr b="1">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Agenda </a:t>
            </a:r>
            <a:r>
              <a:rPr lang="de-DE" dirty="0" err="1"/>
              <a:t>topic</a:t>
            </a:r>
            <a:r>
              <a:rPr lang="de-DE" dirty="0"/>
              <a:t> 1</a:t>
            </a:r>
            <a:endParaRPr lang="en-US" dirty="0"/>
          </a:p>
        </p:txBody>
      </p:sp>
      <p:sp>
        <p:nvSpPr>
          <p:cNvPr id="16" name="Textplatzhalter 12">
            <a:extLst>
              <a:ext uri="{FF2B5EF4-FFF2-40B4-BE49-F238E27FC236}">
                <a16:creationId xmlns:a16="http://schemas.microsoft.com/office/drawing/2014/main" id="{931FC456-ED46-0866-6144-7C5070B82D91}"/>
              </a:ext>
            </a:extLst>
          </p:cNvPr>
          <p:cNvSpPr>
            <a:spLocks noGrp="1"/>
          </p:cNvSpPr>
          <p:nvPr>
            <p:ph type="body" sz="quarter" idx="15" hasCustomPrompt="1"/>
          </p:nvPr>
        </p:nvSpPr>
        <p:spPr>
          <a:xfrm>
            <a:off x="6085295" y="1937981"/>
            <a:ext cx="5408998" cy="246221"/>
          </a:xfrm>
        </p:spPr>
        <p:txBody>
          <a:bodyPr wrap="square">
            <a:spAutoFit/>
          </a:bodyPr>
          <a:lstStyle>
            <a:lvl1pPr marL="0" indent="0">
              <a:buNone/>
              <a:defRPr sz="1600" b="0">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Details</a:t>
            </a:r>
            <a:endParaRPr lang="en-US" dirty="0"/>
          </a:p>
        </p:txBody>
      </p:sp>
      <p:sp>
        <p:nvSpPr>
          <p:cNvPr id="69" name="Textplatzhalter 12">
            <a:extLst>
              <a:ext uri="{FF2B5EF4-FFF2-40B4-BE49-F238E27FC236}">
                <a16:creationId xmlns:a16="http://schemas.microsoft.com/office/drawing/2014/main" id="{3B1DAC4D-DF0F-E207-E237-A3C0E8A47F6B}"/>
              </a:ext>
            </a:extLst>
          </p:cNvPr>
          <p:cNvSpPr>
            <a:spLocks noGrp="1"/>
          </p:cNvSpPr>
          <p:nvPr>
            <p:ph type="body" sz="quarter" idx="16" hasCustomPrompt="1"/>
          </p:nvPr>
        </p:nvSpPr>
        <p:spPr>
          <a:xfrm>
            <a:off x="5346700" y="2439392"/>
            <a:ext cx="603250" cy="307777"/>
          </a:xfrm>
        </p:spPr>
        <p:txBody>
          <a:bodyPr wrap="square">
            <a:spAutoFit/>
          </a:bodyPr>
          <a:lstStyle>
            <a:lvl1pPr marL="0" indent="0">
              <a:buNone/>
              <a:defRPr>
                <a:solidFill>
                  <a:schemeClr val="accent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02</a:t>
            </a:r>
            <a:endParaRPr lang="en-US" dirty="0"/>
          </a:p>
        </p:txBody>
      </p:sp>
      <p:sp>
        <p:nvSpPr>
          <p:cNvPr id="70" name="Textplatzhalter 12">
            <a:extLst>
              <a:ext uri="{FF2B5EF4-FFF2-40B4-BE49-F238E27FC236}">
                <a16:creationId xmlns:a16="http://schemas.microsoft.com/office/drawing/2014/main" id="{382D92DA-22D2-69E8-805D-2F40D2BEF9C8}"/>
              </a:ext>
            </a:extLst>
          </p:cNvPr>
          <p:cNvSpPr>
            <a:spLocks noGrp="1"/>
          </p:cNvSpPr>
          <p:nvPr>
            <p:ph type="body" sz="quarter" idx="17" hasCustomPrompt="1"/>
          </p:nvPr>
        </p:nvSpPr>
        <p:spPr>
          <a:xfrm>
            <a:off x="6085295" y="2439392"/>
            <a:ext cx="5408998" cy="307777"/>
          </a:xfrm>
        </p:spPr>
        <p:txBody>
          <a:bodyPr wrap="square">
            <a:spAutoFit/>
          </a:bodyPr>
          <a:lstStyle>
            <a:lvl1pPr marL="0" indent="0">
              <a:buNone/>
              <a:defRPr b="1">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Agenda </a:t>
            </a:r>
            <a:r>
              <a:rPr lang="de-DE" dirty="0" err="1"/>
              <a:t>topic</a:t>
            </a:r>
            <a:r>
              <a:rPr lang="de-DE" dirty="0"/>
              <a:t> 2</a:t>
            </a:r>
            <a:endParaRPr lang="en-US" dirty="0"/>
          </a:p>
        </p:txBody>
      </p:sp>
      <p:sp>
        <p:nvSpPr>
          <p:cNvPr id="71" name="Textplatzhalter 12">
            <a:extLst>
              <a:ext uri="{FF2B5EF4-FFF2-40B4-BE49-F238E27FC236}">
                <a16:creationId xmlns:a16="http://schemas.microsoft.com/office/drawing/2014/main" id="{BBF666B8-75A2-F868-E642-AB0BF103436C}"/>
              </a:ext>
            </a:extLst>
          </p:cNvPr>
          <p:cNvSpPr>
            <a:spLocks noGrp="1"/>
          </p:cNvSpPr>
          <p:nvPr>
            <p:ph type="body" sz="quarter" idx="18" hasCustomPrompt="1"/>
          </p:nvPr>
        </p:nvSpPr>
        <p:spPr>
          <a:xfrm>
            <a:off x="6085295" y="2748598"/>
            <a:ext cx="5408998" cy="246221"/>
          </a:xfrm>
        </p:spPr>
        <p:txBody>
          <a:bodyPr wrap="square">
            <a:spAutoFit/>
          </a:bodyPr>
          <a:lstStyle>
            <a:lvl1pPr marL="0" indent="0">
              <a:buNone/>
              <a:defRPr sz="1600" b="0">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Details</a:t>
            </a:r>
            <a:endParaRPr lang="en-US" dirty="0"/>
          </a:p>
        </p:txBody>
      </p:sp>
      <p:sp>
        <p:nvSpPr>
          <p:cNvPr id="72" name="Textplatzhalter 12">
            <a:extLst>
              <a:ext uri="{FF2B5EF4-FFF2-40B4-BE49-F238E27FC236}">
                <a16:creationId xmlns:a16="http://schemas.microsoft.com/office/drawing/2014/main" id="{CF175A9B-D0EF-1869-67E2-98DCC5A1DC0B}"/>
              </a:ext>
            </a:extLst>
          </p:cNvPr>
          <p:cNvSpPr>
            <a:spLocks noGrp="1"/>
          </p:cNvSpPr>
          <p:nvPr>
            <p:ph type="body" sz="quarter" idx="19" hasCustomPrompt="1"/>
          </p:nvPr>
        </p:nvSpPr>
        <p:spPr>
          <a:xfrm>
            <a:off x="5346700" y="3250009"/>
            <a:ext cx="603250" cy="307777"/>
          </a:xfrm>
        </p:spPr>
        <p:txBody>
          <a:bodyPr wrap="square">
            <a:spAutoFit/>
          </a:bodyPr>
          <a:lstStyle>
            <a:lvl1pPr marL="0" indent="0">
              <a:buNone/>
              <a:defRPr>
                <a:solidFill>
                  <a:schemeClr val="accent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03</a:t>
            </a:r>
            <a:endParaRPr lang="en-US" dirty="0"/>
          </a:p>
        </p:txBody>
      </p:sp>
      <p:sp>
        <p:nvSpPr>
          <p:cNvPr id="73" name="Textplatzhalter 12">
            <a:extLst>
              <a:ext uri="{FF2B5EF4-FFF2-40B4-BE49-F238E27FC236}">
                <a16:creationId xmlns:a16="http://schemas.microsoft.com/office/drawing/2014/main" id="{4F448861-5FC6-BD87-2B87-EE9089DE98BB}"/>
              </a:ext>
            </a:extLst>
          </p:cNvPr>
          <p:cNvSpPr>
            <a:spLocks noGrp="1"/>
          </p:cNvSpPr>
          <p:nvPr>
            <p:ph type="body" sz="quarter" idx="20" hasCustomPrompt="1"/>
          </p:nvPr>
        </p:nvSpPr>
        <p:spPr>
          <a:xfrm>
            <a:off x="6085295" y="3250009"/>
            <a:ext cx="5408998" cy="307777"/>
          </a:xfrm>
        </p:spPr>
        <p:txBody>
          <a:bodyPr wrap="square">
            <a:spAutoFit/>
          </a:bodyPr>
          <a:lstStyle>
            <a:lvl1pPr marL="0" indent="0">
              <a:buNone/>
              <a:defRPr b="1">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Agenda </a:t>
            </a:r>
            <a:r>
              <a:rPr lang="de-DE" dirty="0" err="1"/>
              <a:t>topic</a:t>
            </a:r>
            <a:r>
              <a:rPr lang="de-DE" dirty="0"/>
              <a:t> 3</a:t>
            </a:r>
            <a:endParaRPr lang="en-US" dirty="0"/>
          </a:p>
        </p:txBody>
      </p:sp>
      <p:sp>
        <p:nvSpPr>
          <p:cNvPr id="74" name="Textplatzhalter 12">
            <a:extLst>
              <a:ext uri="{FF2B5EF4-FFF2-40B4-BE49-F238E27FC236}">
                <a16:creationId xmlns:a16="http://schemas.microsoft.com/office/drawing/2014/main" id="{BA70615D-CE30-9283-09C8-29F0C5B40588}"/>
              </a:ext>
            </a:extLst>
          </p:cNvPr>
          <p:cNvSpPr>
            <a:spLocks noGrp="1"/>
          </p:cNvSpPr>
          <p:nvPr>
            <p:ph type="body" sz="quarter" idx="21" hasCustomPrompt="1"/>
          </p:nvPr>
        </p:nvSpPr>
        <p:spPr>
          <a:xfrm>
            <a:off x="6085295" y="3559215"/>
            <a:ext cx="5408998" cy="246221"/>
          </a:xfrm>
        </p:spPr>
        <p:txBody>
          <a:bodyPr wrap="square">
            <a:spAutoFit/>
          </a:bodyPr>
          <a:lstStyle>
            <a:lvl1pPr marL="0" indent="0">
              <a:buNone/>
              <a:defRPr sz="1600" b="0">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Details</a:t>
            </a:r>
            <a:endParaRPr lang="en-US" dirty="0"/>
          </a:p>
        </p:txBody>
      </p:sp>
      <p:sp>
        <p:nvSpPr>
          <p:cNvPr id="75" name="Textplatzhalter 12">
            <a:extLst>
              <a:ext uri="{FF2B5EF4-FFF2-40B4-BE49-F238E27FC236}">
                <a16:creationId xmlns:a16="http://schemas.microsoft.com/office/drawing/2014/main" id="{3A287E6B-4662-91A2-9809-F8809D2E3B11}"/>
              </a:ext>
            </a:extLst>
          </p:cNvPr>
          <p:cNvSpPr>
            <a:spLocks noGrp="1"/>
          </p:cNvSpPr>
          <p:nvPr>
            <p:ph type="body" sz="quarter" idx="22" hasCustomPrompt="1"/>
          </p:nvPr>
        </p:nvSpPr>
        <p:spPr>
          <a:xfrm>
            <a:off x="5346700" y="4060626"/>
            <a:ext cx="603250" cy="307777"/>
          </a:xfrm>
        </p:spPr>
        <p:txBody>
          <a:bodyPr wrap="square">
            <a:spAutoFit/>
          </a:bodyPr>
          <a:lstStyle>
            <a:lvl1pPr marL="0" indent="0">
              <a:buNone/>
              <a:defRPr>
                <a:solidFill>
                  <a:schemeClr val="accent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04</a:t>
            </a:r>
            <a:endParaRPr lang="en-US" dirty="0"/>
          </a:p>
        </p:txBody>
      </p:sp>
      <p:sp>
        <p:nvSpPr>
          <p:cNvPr id="76" name="Textplatzhalter 12">
            <a:extLst>
              <a:ext uri="{FF2B5EF4-FFF2-40B4-BE49-F238E27FC236}">
                <a16:creationId xmlns:a16="http://schemas.microsoft.com/office/drawing/2014/main" id="{DA4EB09C-F6EA-0856-B68B-86DD14D2BEC6}"/>
              </a:ext>
            </a:extLst>
          </p:cNvPr>
          <p:cNvSpPr>
            <a:spLocks noGrp="1"/>
          </p:cNvSpPr>
          <p:nvPr>
            <p:ph type="body" sz="quarter" idx="23" hasCustomPrompt="1"/>
          </p:nvPr>
        </p:nvSpPr>
        <p:spPr>
          <a:xfrm>
            <a:off x="6085295" y="4060626"/>
            <a:ext cx="5408998" cy="307777"/>
          </a:xfrm>
        </p:spPr>
        <p:txBody>
          <a:bodyPr wrap="square">
            <a:spAutoFit/>
          </a:bodyPr>
          <a:lstStyle>
            <a:lvl1pPr marL="0" indent="0">
              <a:buNone/>
              <a:defRPr b="1">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Agenda </a:t>
            </a:r>
            <a:r>
              <a:rPr lang="de-DE" dirty="0" err="1"/>
              <a:t>topic</a:t>
            </a:r>
            <a:r>
              <a:rPr lang="de-DE" dirty="0"/>
              <a:t> 4</a:t>
            </a:r>
            <a:endParaRPr lang="en-US" dirty="0"/>
          </a:p>
        </p:txBody>
      </p:sp>
      <p:sp>
        <p:nvSpPr>
          <p:cNvPr id="77" name="Textplatzhalter 12">
            <a:extLst>
              <a:ext uri="{FF2B5EF4-FFF2-40B4-BE49-F238E27FC236}">
                <a16:creationId xmlns:a16="http://schemas.microsoft.com/office/drawing/2014/main" id="{7E01ADFF-1B36-9D01-5AC8-B1A5FADCE152}"/>
              </a:ext>
            </a:extLst>
          </p:cNvPr>
          <p:cNvSpPr>
            <a:spLocks noGrp="1"/>
          </p:cNvSpPr>
          <p:nvPr>
            <p:ph type="body" sz="quarter" idx="24" hasCustomPrompt="1"/>
          </p:nvPr>
        </p:nvSpPr>
        <p:spPr>
          <a:xfrm>
            <a:off x="6085295" y="4369832"/>
            <a:ext cx="5408998" cy="246221"/>
          </a:xfrm>
        </p:spPr>
        <p:txBody>
          <a:bodyPr wrap="square">
            <a:spAutoFit/>
          </a:bodyPr>
          <a:lstStyle>
            <a:lvl1pPr marL="0" indent="0">
              <a:buNone/>
              <a:defRPr sz="1600" b="0">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Details</a:t>
            </a:r>
            <a:endParaRPr lang="en-US" dirty="0"/>
          </a:p>
        </p:txBody>
      </p:sp>
      <p:sp>
        <p:nvSpPr>
          <p:cNvPr id="78" name="Textplatzhalter 12">
            <a:extLst>
              <a:ext uri="{FF2B5EF4-FFF2-40B4-BE49-F238E27FC236}">
                <a16:creationId xmlns:a16="http://schemas.microsoft.com/office/drawing/2014/main" id="{750702C6-3AAA-C76C-EEF4-5C67FA4257E7}"/>
              </a:ext>
            </a:extLst>
          </p:cNvPr>
          <p:cNvSpPr>
            <a:spLocks noGrp="1"/>
          </p:cNvSpPr>
          <p:nvPr>
            <p:ph type="body" sz="quarter" idx="25" hasCustomPrompt="1"/>
          </p:nvPr>
        </p:nvSpPr>
        <p:spPr>
          <a:xfrm>
            <a:off x="5346700" y="4871243"/>
            <a:ext cx="603250" cy="307777"/>
          </a:xfrm>
        </p:spPr>
        <p:txBody>
          <a:bodyPr wrap="square">
            <a:spAutoFit/>
          </a:bodyPr>
          <a:lstStyle>
            <a:lvl1pPr marL="0" indent="0">
              <a:buNone/>
              <a:defRPr>
                <a:solidFill>
                  <a:schemeClr val="accent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05</a:t>
            </a:r>
            <a:endParaRPr lang="en-US" dirty="0"/>
          </a:p>
        </p:txBody>
      </p:sp>
      <p:sp>
        <p:nvSpPr>
          <p:cNvPr id="79" name="Textplatzhalter 12">
            <a:extLst>
              <a:ext uri="{FF2B5EF4-FFF2-40B4-BE49-F238E27FC236}">
                <a16:creationId xmlns:a16="http://schemas.microsoft.com/office/drawing/2014/main" id="{84DDD0C1-466F-4BC6-EE5D-BD6B77D5298D}"/>
              </a:ext>
            </a:extLst>
          </p:cNvPr>
          <p:cNvSpPr>
            <a:spLocks noGrp="1"/>
          </p:cNvSpPr>
          <p:nvPr>
            <p:ph type="body" sz="quarter" idx="26" hasCustomPrompt="1"/>
          </p:nvPr>
        </p:nvSpPr>
        <p:spPr>
          <a:xfrm>
            <a:off x="6085295" y="4871243"/>
            <a:ext cx="5408998" cy="307777"/>
          </a:xfrm>
        </p:spPr>
        <p:txBody>
          <a:bodyPr wrap="square">
            <a:spAutoFit/>
          </a:bodyPr>
          <a:lstStyle>
            <a:lvl1pPr marL="0" indent="0">
              <a:buNone/>
              <a:defRPr b="1">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Agenda </a:t>
            </a:r>
            <a:r>
              <a:rPr lang="de-DE" dirty="0" err="1"/>
              <a:t>topic</a:t>
            </a:r>
            <a:r>
              <a:rPr lang="de-DE" dirty="0"/>
              <a:t> 5</a:t>
            </a:r>
            <a:endParaRPr lang="en-US" dirty="0"/>
          </a:p>
        </p:txBody>
      </p:sp>
      <p:sp>
        <p:nvSpPr>
          <p:cNvPr id="80" name="Textplatzhalter 12">
            <a:extLst>
              <a:ext uri="{FF2B5EF4-FFF2-40B4-BE49-F238E27FC236}">
                <a16:creationId xmlns:a16="http://schemas.microsoft.com/office/drawing/2014/main" id="{3DEF9D27-FA73-B4EF-0CED-F647A98EC8D9}"/>
              </a:ext>
            </a:extLst>
          </p:cNvPr>
          <p:cNvSpPr>
            <a:spLocks noGrp="1"/>
          </p:cNvSpPr>
          <p:nvPr>
            <p:ph type="body" sz="quarter" idx="27" hasCustomPrompt="1"/>
          </p:nvPr>
        </p:nvSpPr>
        <p:spPr>
          <a:xfrm>
            <a:off x="6085295" y="5180449"/>
            <a:ext cx="5408998" cy="246221"/>
          </a:xfrm>
        </p:spPr>
        <p:txBody>
          <a:bodyPr wrap="square">
            <a:spAutoFit/>
          </a:bodyPr>
          <a:lstStyle>
            <a:lvl1pPr marL="0" indent="0">
              <a:buNone/>
              <a:defRPr sz="1600" b="0">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Details</a:t>
            </a:r>
            <a:endParaRPr lang="en-US" dirty="0"/>
          </a:p>
        </p:txBody>
      </p:sp>
      <p:sp>
        <p:nvSpPr>
          <p:cNvPr id="81" name="Textplatzhalter 12">
            <a:extLst>
              <a:ext uri="{FF2B5EF4-FFF2-40B4-BE49-F238E27FC236}">
                <a16:creationId xmlns:a16="http://schemas.microsoft.com/office/drawing/2014/main" id="{ED356335-F1E1-92F5-EE95-0DF0F85C8FEF}"/>
              </a:ext>
            </a:extLst>
          </p:cNvPr>
          <p:cNvSpPr>
            <a:spLocks noGrp="1"/>
          </p:cNvSpPr>
          <p:nvPr>
            <p:ph type="body" sz="quarter" idx="28" hasCustomPrompt="1"/>
          </p:nvPr>
        </p:nvSpPr>
        <p:spPr>
          <a:xfrm>
            <a:off x="5346700" y="5681860"/>
            <a:ext cx="603250" cy="307777"/>
          </a:xfrm>
        </p:spPr>
        <p:txBody>
          <a:bodyPr wrap="square">
            <a:spAutoFit/>
          </a:bodyPr>
          <a:lstStyle>
            <a:lvl1pPr marL="0" indent="0">
              <a:buNone/>
              <a:defRPr>
                <a:solidFill>
                  <a:schemeClr val="accent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06</a:t>
            </a:r>
            <a:endParaRPr lang="en-US" dirty="0"/>
          </a:p>
        </p:txBody>
      </p:sp>
      <p:sp>
        <p:nvSpPr>
          <p:cNvPr id="82" name="Textplatzhalter 12">
            <a:extLst>
              <a:ext uri="{FF2B5EF4-FFF2-40B4-BE49-F238E27FC236}">
                <a16:creationId xmlns:a16="http://schemas.microsoft.com/office/drawing/2014/main" id="{D8D9529F-5B21-7D85-E0CC-A4061023A94D}"/>
              </a:ext>
            </a:extLst>
          </p:cNvPr>
          <p:cNvSpPr>
            <a:spLocks noGrp="1"/>
          </p:cNvSpPr>
          <p:nvPr>
            <p:ph type="body" sz="quarter" idx="29" hasCustomPrompt="1"/>
          </p:nvPr>
        </p:nvSpPr>
        <p:spPr>
          <a:xfrm>
            <a:off x="6085295" y="5681860"/>
            <a:ext cx="5408998" cy="307777"/>
          </a:xfrm>
        </p:spPr>
        <p:txBody>
          <a:bodyPr wrap="square">
            <a:spAutoFit/>
          </a:bodyPr>
          <a:lstStyle>
            <a:lvl1pPr marL="0" indent="0">
              <a:buNone/>
              <a:defRPr b="1">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Agenda </a:t>
            </a:r>
            <a:r>
              <a:rPr lang="de-DE" dirty="0" err="1"/>
              <a:t>topic</a:t>
            </a:r>
            <a:r>
              <a:rPr lang="de-DE" dirty="0"/>
              <a:t> 6</a:t>
            </a:r>
            <a:endParaRPr lang="en-US" dirty="0"/>
          </a:p>
        </p:txBody>
      </p:sp>
      <p:sp>
        <p:nvSpPr>
          <p:cNvPr id="83" name="Textplatzhalter 12">
            <a:extLst>
              <a:ext uri="{FF2B5EF4-FFF2-40B4-BE49-F238E27FC236}">
                <a16:creationId xmlns:a16="http://schemas.microsoft.com/office/drawing/2014/main" id="{ABC7AF2C-DB06-B133-E8E0-75E6D0AEFEB0}"/>
              </a:ext>
            </a:extLst>
          </p:cNvPr>
          <p:cNvSpPr>
            <a:spLocks noGrp="1"/>
          </p:cNvSpPr>
          <p:nvPr>
            <p:ph type="body" sz="quarter" idx="30" hasCustomPrompt="1"/>
          </p:nvPr>
        </p:nvSpPr>
        <p:spPr>
          <a:xfrm>
            <a:off x="6085295" y="5991066"/>
            <a:ext cx="5408998" cy="246221"/>
          </a:xfrm>
        </p:spPr>
        <p:txBody>
          <a:bodyPr wrap="square">
            <a:spAutoFit/>
          </a:bodyPr>
          <a:lstStyle>
            <a:lvl1pPr marL="0" indent="0">
              <a:buNone/>
              <a:defRPr sz="1600" b="0">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Details</a:t>
            </a:r>
            <a:endParaRPr lang="en-US" dirty="0"/>
          </a:p>
        </p:txBody>
      </p:sp>
      <p:sp>
        <p:nvSpPr>
          <p:cNvPr id="85" name="Textplatzhalter 12">
            <a:extLst>
              <a:ext uri="{FF2B5EF4-FFF2-40B4-BE49-F238E27FC236}">
                <a16:creationId xmlns:a16="http://schemas.microsoft.com/office/drawing/2014/main" id="{8154DE7F-83AF-13CA-5BA5-EE24D95C3AEC}"/>
              </a:ext>
            </a:extLst>
          </p:cNvPr>
          <p:cNvSpPr>
            <a:spLocks noGrp="1"/>
          </p:cNvSpPr>
          <p:nvPr>
            <p:ph type="body" sz="quarter" idx="31" hasCustomPrompt="1"/>
          </p:nvPr>
        </p:nvSpPr>
        <p:spPr>
          <a:xfrm>
            <a:off x="719547" y="1628775"/>
            <a:ext cx="2931570" cy="738664"/>
          </a:xfrm>
        </p:spPr>
        <p:txBody>
          <a:bodyPr wrap="square">
            <a:spAutoFit/>
          </a:bodyPr>
          <a:lstStyle>
            <a:lvl1pPr marL="0" indent="0">
              <a:buNone/>
              <a:defRPr sz="4800" b="1">
                <a:solidFill>
                  <a:schemeClr val="bg1"/>
                </a:solidFill>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a:t>Agenda</a:t>
            </a:r>
            <a:endParaRPr lang="en-US" dirty="0"/>
          </a:p>
        </p:txBody>
      </p:sp>
    </p:spTree>
    <p:extLst>
      <p:ext uri="{BB962C8B-B14F-4D97-AF65-F5344CB8AC3E}">
        <p14:creationId xmlns:p14="http://schemas.microsoft.com/office/powerpoint/2010/main" val="176487637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Agenda 4 topics">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585472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Freihandform: Form 13">
            <a:extLst>
              <a:ext uri="{FF2B5EF4-FFF2-40B4-BE49-F238E27FC236}">
                <a16:creationId xmlns:a16="http://schemas.microsoft.com/office/drawing/2014/main" id="{47D2F0D6-826A-8322-E56F-20A4B81CED33}"/>
              </a:ext>
            </a:extLst>
          </p:cNvPr>
          <p:cNvSpPr/>
          <p:nvPr userDrawn="1"/>
        </p:nvSpPr>
        <p:spPr>
          <a:xfrm flipH="1">
            <a:off x="4134250" y="1"/>
            <a:ext cx="8057750" cy="6857999"/>
          </a:xfrm>
          <a:custGeom>
            <a:avLst/>
            <a:gdLst>
              <a:gd name="connsiteX0" fmla="*/ 8057750 w 8057750"/>
              <a:gd name="connsiteY0" fmla="*/ 0 h 6857999"/>
              <a:gd name="connsiteX1" fmla="*/ 1238943 w 8057750"/>
              <a:gd name="connsiteY1" fmla="*/ 0 h 6857999"/>
              <a:gd name="connsiteX2" fmla="*/ 0 w 8057750"/>
              <a:gd name="connsiteY2" fmla="*/ 1648913 h 6857999"/>
              <a:gd name="connsiteX3" fmla="*/ 0 w 8057750"/>
              <a:gd name="connsiteY3" fmla="*/ 6857999 h 6857999"/>
              <a:gd name="connsiteX4" fmla="*/ 2825936 w 8057750"/>
              <a:gd name="connsiteY4" fmla="*/ 6857999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57750" h="6857999">
                <a:moveTo>
                  <a:pt x="8057750" y="0"/>
                </a:moveTo>
                <a:lnTo>
                  <a:pt x="1238943" y="0"/>
                </a:lnTo>
                <a:lnTo>
                  <a:pt x="0" y="1648913"/>
                </a:lnTo>
                <a:lnTo>
                  <a:pt x="0" y="6857999"/>
                </a:lnTo>
                <a:lnTo>
                  <a:pt x="2825936" y="6857999"/>
                </a:lnTo>
                <a:close/>
              </a:path>
            </a:pathLst>
          </a:custGeom>
          <a:solidFill>
            <a:schemeClr val="bg2">
              <a:alpha val="45000"/>
            </a:schemeClr>
          </a:solidFill>
          <a:ln w="6540" cap="flat">
            <a:noFill/>
            <a:prstDash val="solid"/>
            <a:miter/>
          </a:ln>
        </p:spPr>
        <p:txBody>
          <a:bodyPr wrap="square" rtlCol="0" anchor="ctr">
            <a:noAutofit/>
          </a:bodyPr>
          <a:lstStyle/>
          <a:p>
            <a:pPr lvl="0"/>
            <a:endParaRPr lang="en-GB" dirty="0"/>
          </a:p>
        </p:txBody>
      </p:sp>
      <p:sp>
        <p:nvSpPr>
          <p:cNvPr id="3" name="Freihandform: Form 2">
            <a:extLst>
              <a:ext uri="{FF2B5EF4-FFF2-40B4-BE49-F238E27FC236}">
                <a16:creationId xmlns:a16="http://schemas.microsoft.com/office/drawing/2014/main" id="{96FB8F27-0135-C7C9-0DD2-3DCC88A4730A}"/>
              </a:ext>
            </a:extLst>
          </p:cNvPr>
          <p:cNvSpPr/>
          <p:nvPr userDrawn="1"/>
        </p:nvSpPr>
        <p:spPr>
          <a:xfrm>
            <a:off x="0" y="0"/>
            <a:ext cx="4249196" cy="6858000"/>
          </a:xfrm>
          <a:custGeom>
            <a:avLst/>
            <a:gdLst>
              <a:gd name="connsiteX0" fmla="*/ 0 w 4249196"/>
              <a:gd name="connsiteY0" fmla="*/ 0 h 6858000"/>
              <a:gd name="connsiteX1" fmla="*/ 2699439 w 4249196"/>
              <a:gd name="connsiteY1" fmla="*/ 0 h 6858000"/>
              <a:gd name="connsiteX2" fmla="*/ 4249196 w 4249196"/>
              <a:gd name="connsiteY2" fmla="*/ 2062578 h 6858000"/>
              <a:gd name="connsiteX3" fmla="*/ 956514 w 4249196"/>
              <a:gd name="connsiteY3" fmla="*/ 6858000 h 6858000"/>
              <a:gd name="connsiteX4" fmla="*/ 0 w 424919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9196" h="6858000">
                <a:moveTo>
                  <a:pt x="0" y="0"/>
                </a:moveTo>
                <a:lnTo>
                  <a:pt x="2699439" y="0"/>
                </a:lnTo>
                <a:lnTo>
                  <a:pt x="4249196" y="2062578"/>
                </a:lnTo>
                <a:lnTo>
                  <a:pt x="956514" y="6858000"/>
                </a:lnTo>
                <a:lnTo>
                  <a:pt x="0" y="6858000"/>
                </a:lnTo>
                <a:close/>
              </a:path>
            </a:pathLst>
          </a:custGeom>
          <a:gradFill>
            <a:gsLst>
              <a:gs pos="11000">
                <a:schemeClr val="accent1"/>
              </a:gs>
              <a:gs pos="100000">
                <a:schemeClr val="accent3"/>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grpSp>
        <p:nvGrpSpPr>
          <p:cNvPr id="7" name="Gruppieren 6">
            <a:extLst>
              <a:ext uri="{FF2B5EF4-FFF2-40B4-BE49-F238E27FC236}">
                <a16:creationId xmlns:a16="http://schemas.microsoft.com/office/drawing/2014/main" id="{95E6AD5D-7221-E3C6-DEDD-7632BB58CE18}"/>
              </a:ext>
            </a:extLst>
          </p:cNvPr>
          <p:cNvGrpSpPr/>
          <p:nvPr userDrawn="1"/>
        </p:nvGrpSpPr>
        <p:grpSpPr>
          <a:xfrm>
            <a:off x="9938597" y="441325"/>
            <a:ext cx="1558078" cy="295275"/>
            <a:chOff x="9938597" y="441325"/>
            <a:chExt cx="1558078" cy="295275"/>
          </a:xfrm>
        </p:grpSpPr>
        <p:sp>
          <p:nvSpPr>
            <p:cNvPr id="9" name="Freeform: Shape 10">
              <a:extLst>
                <a:ext uri="{FF2B5EF4-FFF2-40B4-BE49-F238E27FC236}">
                  <a16:creationId xmlns:a16="http://schemas.microsoft.com/office/drawing/2014/main" id="{9C4AB1CA-9EDA-8DD1-E1E4-3BC75A6E6AB7}"/>
                </a:ext>
              </a:extLst>
            </p:cNvPr>
            <p:cNvSpPr/>
            <p:nvPr/>
          </p:nvSpPr>
          <p:spPr>
            <a:xfrm>
              <a:off x="9938597" y="441325"/>
              <a:ext cx="77518" cy="289100"/>
            </a:xfrm>
            <a:custGeom>
              <a:avLst/>
              <a:gdLst>
                <a:gd name="connsiteX0" fmla="*/ 92671 w 92670"/>
                <a:gd name="connsiteY0" fmla="*/ 0 h 338478"/>
                <a:gd name="connsiteX1" fmla="*/ 0 w 92670"/>
                <a:gd name="connsiteY1" fmla="*/ 0 h 338478"/>
                <a:gd name="connsiteX2" fmla="*/ 0 w 92670"/>
                <a:gd name="connsiteY2" fmla="*/ 338478 h 338478"/>
                <a:gd name="connsiteX3" fmla="*/ 92671 w 92670"/>
                <a:gd name="connsiteY3" fmla="*/ 217546 h 338478"/>
              </a:gdLst>
              <a:ahLst/>
              <a:cxnLst>
                <a:cxn ang="0">
                  <a:pos x="connsiteX0" y="connsiteY0"/>
                </a:cxn>
                <a:cxn ang="0">
                  <a:pos x="connsiteX1" y="connsiteY1"/>
                </a:cxn>
                <a:cxn ang="0">
                  <a:pos x="connsiteX2" y="connsiteY2"/>
                </a:cxn>
                <a:cxn ang="0">
                  <a:pos x="connsiteX3" y="connsiteY3"/>
                </a:cxn>
              </a:cxnLst>
              <a:rect l="l" t="t" r="r" b="b"/>
              <a:pathLst>
                <a:path w="92670" h="338478">
                  <a:moveTo>
                    <a:pt x="92671" y="0"/>
                  </a:moveTo>
                  <a:lnTo>
                    <a:pt x="0" y="0"/>
                  </a:lnTo>
                  <a:lnTo>
                    <a:pt x="0" y="338478"/>
                  </a:lnTo>
                  <a:lnTo>
                    <a:pt x="92671" y="217546"/>
                  </a:lnTo>
                  <a:close/>
                </a:path>
              </a:pathLst>
            </a:custGeom>
            <a:solidFill>
              <a:schemeClr val="accent3"/>
            </a:solidFill>
            <a:ln w="6540" cap="flat">
              <a:noFill/>
              <a:prstDash val="solid"/>
              <a:miter/>
            </a:ln>
          </p:spPr>
          <p:txBody>
            <a:bodyPr rtlCol="0" anchor="ctr"/>
            <a:lstStyle/>
            <a:p>
              <a:endParaRPr lang="en-GB"/>
            </a:p>
          </p:txBody>
        </p:sp>
        <p:sp>
          <p:nvSpPr>
            <p:cNvPr id="10" name="Freeform: Shape 11">
              <a:extLst>
                <a:ext uri="{FF2B5EF4-FFF2-40B4-BE49-F238E27FC236}">
                  <a16:creationId xmlns:a16="http://schemas.microsoft.com/office/drawing/2014/main" id="{A6C3246B-613A-02A5-6E13-F2EB67F70B94}"/>
                </a:ext>
              </a:extLst>
            </p:cNvPr>
            <p:cNvSpPr/>
            <p:nvPr/>
          </p:nvSpPr>
          <p:spPr>
            <a:xfrm>
              <a:off x="10016115" y="441325"/>
              <a:ext cx="1480560" cy="295275"/>
            </a:xfrm>
            <a:custGeom>
              <a:avLst/>
              <a:gdLst>
                <a:gd name="connsiteX0" fmla="*/ 196515 w 1769954"/>
                <a:gd name="connsiteY0" fmla="*/ 92671 h 345708"/>
                <a:gd name="connsiteX1" fmla="*/ 99243 w 1769954"/>
                <a:gd name="connsiteY1" fmla="*/ 217546 h 345708"/>
                <a:gd name="connsiteX2" fmla="*/ 194543 w 1769954"/>
                <a:gd name="connsiteY2" fmla="*/ 338478 h 345708"/>
                <a:gd name="connsiteX3" fmla="*/ 84784 w 1769954"/>
                <a:gd name="connsiteY3" fmla="*/ 338478 h 345708"/>
                <a:gd name="connsiteX4" fmla="*/ 0 w 1769954"/>
                <a:gd name="connsiteY4" fmla="*/ 217546 h 345708"/>
                <a:gd name="connsiteX5" fmla="*/ 95300 w 1769954"/>
                <a:gd name="connsiteY5" fmla="*/ 93328 h 345708"/>
                <a:gd name="connsiteX6" fmla="*/ 196515 w 1769954"/>
                <a:gd name="connsiteY6" fmla="*/ 92671 h 345708"/>
                <a:gd name="connsiteX7" fmla="*/ 338478 w 1769954"/>
                <a:gd name="connsiteY7" fmla="*/ 85441 h 345708"/>
                <a:gd name="connsiteX8" fmla="*/ 195857 w 1769954"/>
                <a:gd name="connsiteY8" fmla="*/ 215575 h 345708"/>
                <a:gd name="connsiteX9" fmla="*/ 338478 w 1769954"/>
                <a:gd name="connsiteY9" fmla="*/ 345708 h 345708"/>
                <a:gd name="connsiteX10" fmla="*/ 481100 w 1769954"/>
                <a:gd name="connsiteY10" fmla="*/ 215575 h 345708"/>
                <a:gd name="connsiteX11" fmla="*/ 338478 w 1769954"/>
                <a:gd name="connsiteY11" fmla="*/ 85441 h 345708"/>
                <a:gd name="connsiteX12" fmla="*/ 291157 w 1769954"/>
                <a:gd name="connsiteY12" fmla="*/ 215575 h 345708"/>
                <a:gd name="connsiteX13" fmla="*/ 338478 w 1769954"/>
                <a:gd name="connsiteY13" fmla="*/ 139335 h 345708"/>
                <a:gd name="connsiteX14" fmla="*/ 385800 w 1769954"/>
                <a:gd name="connsiteY14" fmla="*/ 215575 h 345708"/>
                <a:gd name="connsiteX15" fmla="*/ 338478 w 1769954"/>
                <a:gd name="connsiteY15" fmla="*/ 291814 h 345708"/>
                <a:gd name="connsiteX16" fmla="*/ 291157 w 1769954"/>
                <a:gd name="connsiteY16" fmla="*/ 215575 h 345708"/>
                <a:gd name="connsiteX17" fmla="*/ 683529 w 1769954"/>
                <a:gd name="connsiteY17" fmla="*/ 85441 h 345708"/>
                <a:gd name="connsiteX18" fmla="*/ 606632 w 1769954"/>
                <a:gd name="connsiteY18" fmla="*/ 119618 h 345708"/>
                <a:gd name="connsiteX19" fmla="*/ 605318 w 1769954"/>
                <a:gd name="connsiteY19" fmla="*/ 92671 h 345708"/>
                <a:gd name="connsiteX20" fmla="*/ 513962 w 1769954"/>
                <a:gd name="connsiteY20" fmla="*/ 92671 h 345708"/>
                <a:gd name="connsiteX21" fmla="*/ 513962 w 1769954"/>
                <a:gd name="connsiteY21" fmla="*/ 337821 h 345708"/>
                <a:gd name="connsiteX22" fmla="*/ 606632 w 1769954"/>
                <a:gd name="connsiteY22" fmla="*/ 337821 h 345708"/>
                <a:gd name="connsiteX23" fmla="*/ 606632 w 1769954"/>
                <a:gd name="connsiteY23" fmla="*/ 197172 h 345708"/>
                <a:gd name="connsiteX24" fmla="*/ 646724 w 1769954"/>
                <a:gd name="connsiteY24" fmla="*/ 143935 h 345708"/>
                <a:gd name="connsiteX25" fmla="*/ 682215 w 1769954"/>
                <a:gd name="connsiteY25" fmla="*/ 193886 h 345708"/>
                <a:gd name="connsiteX26" fmla="*/ 682215 w 1769954"/>
                <a:gd name="connsiteY26" fmla="*/ 337821 h 345708"/>
                <a:gd name="connsiteX27" fmla="*/ 774886 w 1769954"/>
                <a:gd name="connsiteY27" fmla="*/ 337821 h 345708"/>
                <a:gd name="connsiteX28" fmla="*/ 774886 w 1769954"/>
                <a:gd name="connsiteY28" fmla="*/ 173511 h 345708"/>
                <a:gd name="connsiteX29" fmla="*/ 683529 w 1769954"/>
                <a:gd name="connsiteY29" fmla="*/ 85441 h 345708"/>
                <a:gd name="connsiteX30" fmla="*/ 815635 w 1769954"/>
                <a:gd name="connsiteY30" fmla="*/ 260924 h 345708"/>
                <a:gd name="connsiteX31" fmla="*/ 912249 w 1769954"/>
                <a:gd name="connsiteY31" fmla="*/ 345051 h 345708"/>
                <a:gd name="connsiteX32" fmla="*/ 962199 w 1769954"/>
                <a:gd name="connsiteY32" fmla="*/ 340450 h 345708"/>
                <a:gd name="connsiteX33" fmla="*/ 962199 w 1769954"/>
                <a:gd name="connsiteY33" fmla="*/ 285242 h 345708"/>
                <a:gd name="connsiteX34" fmla="*/ 926708 w 1769954"/>
                <a:gd name="connsiteY34" fmla="*/ 286556 h 345708"/>
                <a:gd name="connsiteX35" fmla="*/ 908963 w 1769954"/>
                <a:gd name="connsiteY35" fmla="*/ 248437 h 345708"/>
                <a:gd name="connsiteX36" fmla="*/ 908963 w 1769954"/>
                <a:gd name="connsiteY36" fmla="*/ 151165 h 345708"/>
                <a:gd name="connsiteX37" fmla="*/ 962856 w 1769954"/>
                <a:gd name="connsiteY37" fmla="*/ 151165 h 345708"/>
                <a:gd name="connsiteX38" fmla="*/ 962856 w 1769954"/>
                <a:gd name="connsiteY38" fmla="*/ 93328 h 345708"/>
                <a:gd name="connsiteX39" fmla="*/ 908963 w 1769954"/>
                <a:gd name="connsiteY39" fmla="*/ 93328 h 345708"/>
                <a:gd name="connsiteX40" fmla="*/ 908963 w 1769954"/>
                <a:gd name="connsiteY40" fmla="*/ 0 h 345708"/>
                <a:gd name="connsiteX41" fmla="*/ 816292 w 1769954"/>
                <a:gd name="connsiteY41" fmla="*/ 120932 h 345708"/>
                <a:gd name="connsiteX42" fmla="*/ 815635 w 1769954"/>
                <a:gd name="connsiteY42" fmla="*/ 260924 h 345708"/>
                <a:gd name="connsiteX43" fmla="*/ 1097591 w 1769954"/>
                <a:gd name="connsiteY43" fmla="*/ 92671 h 345708"/>
                <a:gd name="connsiteX44" fmla="*/ 1006234 w 1769954"/>
                <a:gd name="connsiteY44" fmla="*/ 92671 h 345708"/>
                <a:gd name="connsiteX45" fmla="*/ 1006234 w 1769954"/>
                <a:gd name="connsiteY45" fmla="*/ 337821 h 345708"/>
                <a:gd name="connsiteX46" fmla="*/ 1098905 w 1769954"/>
                <a:gd name="connsiteY46" fmla="*/ 337821 h 345708"/>
                <a:gd name="connsiteX47" fmla="*/ 1098905 w 1769954"/>
                <a:gd name="connsiteY47" fmla="*/ 239235 h 345708"/>
                <a:gd name="connsiteX48" fmla="*/ 1162657 w 1769954"/>
                <a:gd name="connsiteY48" fmla="*/ 162995 h 345708"/>
                <a:gd name="connsiteX49" fmla="*/ 1182374 w 1769954"/>
                <a:gd name="connsiteY49" fmla="*/ 163653 h 345708"/>
                <a:gd name="connsiteX50" fmla="*/ 1182374 w 1769954"/>
                <a:gd name="connsiteY50" fmla="*/ 85441 h 345708"/>
                <a:gd name="connsiteX51" fmla="*/ 1100219 w 1769954"/>
                <a:gd name="connsiteY51" fmla="*/ 138678 h 345708"/>
                <a:gd name="connsiteX52" fmla="*/ 1099562 w 1769954"/>
                <a:gd name="connsiteY52" fmla="*/ 138678 h 345708"/>
                <a:gd name="connsiteX53" fmla="*/ 1097591 w 1769954"/>
                <a:gd name="connsiteY53" fmla="*/ 92671 h 345708"/>
                <a:gd name="connsiteX54" fmla="*/ 1338140 w 1769954"/>
                <a:gd name="connsiteY54" fmla="*/ 85441 h 345708"/>
                <a:gd name="connsiteX55" fmla="*/ 1195519 w 1769954"/>
                <a:gd name="connsiteY55" fmla="*/ 215575 h 345708"/>
                <a:gd name="connsiteX56" fmla="*/ 1338140 w 1769954"/>
                <a:gd name="connsiteY56" fmla="*/ 345708 h 345708"/>
                <a:gd name="connsiteX57" fmla="*/ 1480761 w 1769954"/>
                <a:gd name="connsiteY57" fmla="*/ 215575 h 345708"/>
                <a:gd name="connsiteX58" fmla="*/ 1338140 w 1769954"/>
                <a:gd name="connsiteY58" fmla="*/ 85441 h 345708"/>
                <a:gd name="connsiteX59" fmla="*/ 1290819 w 1769954"/>
                <a:gd name="connsiteY59" fmla="*/ 215575 h 345708"/>
                <a:gd name="connsiteX60" fmla="*/ 1338140 w 1769954"/>
                <a:gd name="connsiteY60" fmla="*/ 139335 h 345708"/>
                <a:gd name="connsiteX61" fmla="*/ 1385461 w 1769954"/>
                <a:gd name="connsiteY61" fmla="*/ 215575 h 345708"/>
                <a:gd name="connsiteX62" fmla="*/ 1338140 w 1769954"/>
                <a:gd name="connsiteY62" fmla="*/ 291814 h 345708"/>
                <a:gd name="connsiteX63" fmla="*/ 1290819 w 1769954"/>
                <a:gd name="connsiteY63" fmla="*/ 215575 h 345708"/>
                <a:gd name="connsiteX64" fmla="*/ 1678590 w 1769954"/>
                <a:gd name="connsiteY64" fmla="*/ 85441 h 345708"/>
                <a:gd name="connsiteX65" fmla="*/ 1601693 w 1769954"/>
                <a:gd name="connsiteY65" fmla="*/ 119618 h 345708"/>
                <a:gd name="connsiteX66" fmla="*/ 1600379 w 1769954"/>
                <a:gd name="connsiteY66" fmla="*/ 92671 h 345708"/>
                <a:gd name="connsiteX67" fmla="*/ 1509023 w 1769954"/>
                <a:gd name="connsiteY67" fmla="*/ 92671 h 345708"/>
                <a:gd name="connsiteX68" fmla="*/ 1509023 w 1769954"/>
                <a:gd name="connsiteY68" fmla="*/ 337821 h 345708"/>
                <a:gd name="connsiteX69" fmla="*/ 1601693 w 1769954"/>
                <a:gd name="connsiteY69" fmla="*/ 337821 h 345708"/>
                <a:gd name="connsiteX70" fmla="*/ 1601693 w 1769954"/>
                <a:gd name="connsiteY70" fmla="*/ 197829 h 345708"/>
                <a:gd name="connsiteX71" fmla="*/ 1641785 w 1769954"/>
                <a:gd name="connsiteY71" fmla="*/ 144593 h 345708"/>
                <a:gd name="connsiteX72" fmla="*/ 1677276 w 1769954"/>
                <a:gd name="connsiteY72" fmla="*/ 194543 h 345708"/>
                <a:gd name="connsiteX73" fmla="*/ 1677276 w 1769954"/>
                <a:gd name="connsiteY73" fmla="*/ 338478 h 345708"/>
                <a:gd name="connsiteX74" fmla="*/ 1769947 w 1769954"/>
                <a:gd name="connsiteY74" fmla="*/ 338478 h 345708"/>
                <a:gd name="connsiteX75" fmla="*/ 1769947 w 1769954"/>
                <a:gd name="connsiteY75" fmla="*/ 174169 h 345708"/>
                <a:gd name="connsiteX76" fmla="*/ 1678590 w 1769954"/>
                <a:gd name="connsiteY76" fmla="*/ 85441 h 34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69954" h="345708">
                  <a:moveTo>
                    <a:pt x="196515" y="92671"/>
                  </a:moveTo>
                  <a:lnTo>
                    <a:pt x="99243" y="217546"/>
                  </a:lnTo>
                  <a:lnTo>
                    <a:pt x="194543" y="338478"/>
                  </a:lnTo>
                  <a:lnTo>
                    <a:pt x="84784" y="338478"/>
                  </a:lnTo>
                  <a:lnTo>
                    <a:pt x="0" y="217546"/>
                  </a:lnTo>
                  <a:lnTo>
                    <a:pt x="95300" y="93328"/>
                  </a:lnTo>
                  <a:lnTo>
                    <a:pt x="196515" y="92671"/>
                  </a:lnTo>
                  <a:close/>
                  <a:moveTo>
                    <a:pt x="338478" y="85441"/>
                  </a:moveTo>
                  <a:cubicBezTo>
                    <a:pt x="261581" y="85441"/>
                    <a:pt x="195857" y="124876"/>
                    <a:pt x="195857" y="215575"/>
                  </a:cubicBezTo>
                  <a:cubicBezTo>
                    <a:pt x="195857" y="306274"/>
                    <a:pt x="261581" y="345708"/>
                    <a:pt x="338478" y="345708"/>
                  </a:cubicBezTo>
                  <a:cubicBezTo>
                    <a:pt x="415376" y="345708"/>
                    <a:pt x="481100" y="306274"/>
                    <a:pt x="481100" y="215575"/>
                  </a:cubicBezTo>
                  <a:cubicBezTo>
                    <a:pt x="481757" y="125533"/>
                    <a:pt x="415376" y="85441"/>
                    <a:pt x="338478" y="85441"/>
                  </a:cubicBezTo>
                  <a:close/>
                  <a:moveTo>
                    <a:pt x="291157" y="215575"/>
                  </a:moveTo>
                  <a:cubicBezTo>
                    <a:pt x="291157" y="180741"/>
                    <a:pt x="299701" y="139335"/>
                    <a:pt x="338478" y="139335"/>
                  </a:cubicBezTo>
                  <a:cubicBezTo>
                    <a:pt x="377256" y="139335"/>
                    <a:pt x="385800" y="180741"/>
                    <a:pt x="385800" y="215575"/>
                  </a:cubicBezTo>
                  <a:cubicBezTo>
                    <a:pt x="385800" y="250408"/>
                    <a:pt x="377256" y="291814"/>
                    <a:pt x="338478" y="291814"/>
                  </a:cubicBezTo>
                  <a:cubicBezTo>
                    <a:pt x="299701" y="291814"/>
                    <a:pt x="291157" y="250408"/>
                    <a:pt x="291157" y="215575"/>
                  </a:cubicBezTo>
                  <a:close/>
                  <a:moveTo>
                    <a:pt x="683529" y="85441"/>
                  </a:moveTo>
                  <a:cubicBezTo>
                    <a:pt x="651982" y="85441"/>
                    <a:pt x="627664" y="95300"/>
                    <a:pt x="606632" y="119618"/>
                  </a:cubicBezTo>
                  <a:lnTo>
                    <a:pt x="605318" y="92671"/>
                  </a:lnTo>
                  <a:lnTo>
                    <a:pt x="513962" y="92671"/>
                  </a:lnTo>
                  <a:lnTo>
                    <a:pt x="513962" y="337821"/>
                  </a:lnTo>
                  <a:lnTo>
                    <a:pt x="606632" y="337821"/>
                  </a:lnTo>
                  <a:lnTo>
                    <a:pt x="606632" y="197172"/>
                  </a:lnTo>
                  <a:cubicBezTo>
                    <a:pt x="606632" y="194543"/>
                    <a:pt x="600717" y="143935"/>
                    <a:pt x="646724" y="143935"/>
                  </a:cubicBezTo>
                  <a:cubicBezTo>
                    <a:pt x="675643" y="143935"/>
                    <a:pt x="681558" y="169568"/>
                    <a:pt x="682215" y="193886"/>
                  </a:cubicBezTo>
                  <a:lnTo>
                    <a:pt x="682215" y="337821"/>
                  </a:lnTo>
                  <a:lnTo>
                    <a:pt x="774886" y="337821"/>
                  </a:lnTo>
                  <a:lnTo>
                    <a:pt x="774886" y="173511"/>
                  </a:lnTo>
                  <a:cubicBezTo>
                    <a:pt x="774886" y="119618"/>
                    <a:pt x="736109" y="85441"/>
                    <a:pt x="683529" y="85441"/>
                  </a:cubicBezTo>
                  <a:close/>
                  <a:moveTo>
                    <a:pt x="815635" y="260924"/>
                  </a:moveTo>
                  <a:cubicBezTo>
                    <a:pt x="811034" y="336507"/>
                    <a:pt x="849154" y="345051"/>
                    <a:pt x="912249" y="345051"/>
                  </a:cubicBezTo>
                  <a:cubicBezTo>
                    <a:pt x="926051" y="345051"/>
                    <a:pt x="941167" y="344394"/>
                    <a:pt x="962199" y="340450"/>
                  </a:cubicBezTo>
                  <a:lnTo>
                    <a:pt x="962199" y="285242"/>
                  </a:lnTo>
                  <a:cubicBezTo>
                    <a:pt x="951683" y="286556"/>
                    <a:pt x="938538" y="286556"/>
                    <a:pt x="926708" y="286556"/>
                  </a:cubicBezTo>
                  <a:cubicBezTo>
                    <a:pt x="905019" y="286556"/>
                    <a:pt x="908963" y="255009"/>
                    <a:pt x="908963" y="248437"/>
                  </a:cubicBezTo>
                  <a:lnTo>
                    <a:pt x="908963" y="151165"/>
                  </a:lnTo>
                  <a:lnTo>
                    <a:pt x="962856" y="151165"/>
                  </a:lnTo>
                  <a:lnTo>
                    <a:pt x="962856" y="93328"/>
                  </a:lnTo>
                  <a:lnTo>
                    <a:pt x="908963" y="93328"/>
                  </a:lnTo>
                  <a:lnTo>
                    <a:pt x="908963" y="0"/>
                  </a:lnTo>
                  <a:lnTo>
                    <a:pt x="816292" y="120932"/>
                  </a:lnTo>
                  <a:lnTo>
                    <a:pt x="815635" y="260924"/>
                  </a:lnTo>
                  <a:close/>
                  <a:moveTo>
                    <a:pt x="1097591" y="92671"/>
                  </a:moveTo>
                  <a:lnTo>
                    <a:pt x="1006234" y="92671"/>
                  </a:lnTo>
                  <a:lnTo>
                    <a:pt x="1006234" y="337821"/>
                  </a:lnTo>
                  <a:lnTo>
                    <a:pt x="1098905" y="337821"/>
                  </a:lnTo>
                  <a:lnTo>
                    <a:pt x="1098905" y="239235"/>
                  </a:lnTo>
                  <a:cubicBezTo>
                    <a:pt x="1097591" y="192571"/>
                    <a:pt x="1114022" y="163653"/>
                    <a:pt x="1162657" y="162995"/>
                  </a:cubicBezTo>
                  <a:cubicBezTo>
                    <a:pt x="1169230" y="162995"/>
                    <a:pt x="1175145" y="162995"/>
                    <a:pt x="1182374" y="163653"/>
                  </a:cubicBezTo>
                  <a:lnTo>
                    <a:pt x="1182374" y="85441"/>
                  </a:lnTo>
                  <a:cubicBezTo>
                    <a:pt x="1141626" y="84784"/>
                    <a:pt x="1110735" y="97929"/>
                    <a:pt x="1100219" y="138678"/>
                  </a:cubicBezTo>
                  <a:lnTo>
                    <a:pt x="1099562" y="138678"/>
                  </a:lnTo>
                  <a:lnTo>
                    <a:pt x="1097591" y="92671"/>
                  </a:lnTo>
                  <a:close/>
                  <a:moveTo>
                    <a:pt x="1338140" y="85441"/>
                  </a:moveTo>
                  <a:cubicBezTo>
                    <a:pt x="1261243" y="85441"/>
                    <a:pt x="1195519" y="124876"/>
                    <a:pt x="1195519" y="215575"/>
                  </a:cubicBezTo>
                  <a:cubicBezTo>
                    <a:pt x="1195519" y="306274"/>
                    <a:pt x="1261243" y="345708"/>
                    <a:pt x="1338140" y="345708"/>
                  </a:cubicBezTo>
                  <a:cubicBezTo>
                    <a:pt x="1415037" y="345708"/>
                    <a:pt x="1480761" y="306274"/>
                    <a:pt x="1480761" y="215575"/>
                  </a:cubicBezTo>
                  <a:cubicBezTo>
                    <a:pt x="1480761" y="124876"/>
                    <a:pt x="1414380" y="85441"/>
                    <a:pt x="1338140" y="85441"/>
                  </a:cubicBezTo>
                  <a:close/>
                  <a:moveTo>
                    <a:pt x="1290819" y="215575"/>
                  </a:moveTo>
                  <a:cubicBezTo>
                    <a:pt x="1290819" y="180741"/>
                    <a:pt x="1299363" y="139335"/>
                    <a:pt x="1338140" y="139335"/>
                  </a:cubicBezTo>
                  <a:cubicBezTo>
                    <a:pt x="1376917" y="139335"/>
                    <a:pt x="1385461" y="180741"/>
                    <a:pt x="1385461" y="215575"/>
                  </a:cubicBezTo>
                  <a:cubicBezTo>
                    <a:pt x="1385461" y="250408"/>
                    <a:pt x="1376917" y="291814"/>
                    <a:pt x="1338140" y="291814"/>
                  </a:cubicBezTo>
                  <a:cubicBezTo>
                    <a:pt x="1298706" y="291814"/>
                    <a:pt x="1290819" y="250408"/>
                    <a:pt x="1290819" y="215575"/>
                  </a:cubicBezTo>
                  <a:close/>
                  <a:moveTo>
                    <a:pt x="1678590" y="85441"/>
                  </a:moveTo>
                  <a:cubicBezTo>
                    <a:pt x="1647043" y="85441"/>
                    <a:pt x="1622725" y="95300"/>
                    <a:pt x="1601693" y="119618"/>
                  </a:cubicBezTo>
                  <a:lnTo>
                    <a:pt x="1600379" y="92671"/>
                  </a:lnTo>
                  <a:lnTo>
                    <a:pt x="1509023" y="92671"/>
                  </a:lnTo>
                  <a:lnTo>
                    <a:pt x="1509023" y="337821"/>
                  </a:lnTo>
                  <a:lnTo>
                    <a:pt x="1601693" y="337821"/>
                  </a:lnTo>
                  <a:lnTo>
                    <a:pt x="1601693" y="197829"/>
                  </a:lnTo>
                  <a:cubicBezTo>
                    <a:pt x="1601693" y="195200"/>
                    <a:pt x="1595778" y="144593"/>
                    <a:pt x="1641785" y="144593"/>
                  </a:cubicBezTo>
                  <a:cubicBezTo>
                    <a:pt x="1670704" y="144593"/>
                    <a:pt x="1676619" y="170225"/>
                    <a:pt x="1677276" y="194543"/>
                  </a:cubicBezTo>
                  <a:lnTo>
                    <a:pt x="1677276" y="338478"/>
                  </a:lnTo>
                  <a:lnTo>
                    <a:pt x="1769947" y="338478"/>
                  </a:lnTo>
                  <a:lnTo>
                    <a:pt x="1769947" y="174169"/>
                  </a:lnTo>
                  <a:cubicBezTo>
                    <a:pt x="1770604" y="119618"/>
                    <a:pt x="1731170" y="85441"/>
                    <a:pt x="1678590" y="85441"/>
                  </a:cubicBezTo>
                  <a:close/>
                </a:path>
              </a:pathLst>
            </a:custGeom>
            <a:solidFill>
              <a:schemeClr val="accent1"/>
            </a:solidFill>
            <a:ln w="6540" cap="flat">
              <a:noFill/>
              <a:prstDash val="solid"/>
              <a:miter/>
            </a:ln>
          </p:spPr>
          <p:txBody>
            <a:bodyPr rtlCol="0" anchor="ctr"/>
            <a:lstStyle/>
            <a:p>
              <a:endParaRPr lang="en-GB" dirty="0"/>
            </a:p>
          </p:txBody>
        </p:sp>
      </p:gr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85" name="Textplatzhalter 12">
            <a:extLst>
              <a:ext uri="{FF2B5EF4-FFF2-40B4-BE49-F238E27FC236}">
                <a16:creationId xmlns:a16="http://schemas.microsoft.com/office/drawing/2014/main" id="{8154DE7F-83AF-13CA-5BA5-EE24D95C3AEC}"/>
              </a:ext>
            </a:extLst>
          </p:cNvPr>
          <p:cNvSpPr>
            <a:spLocks noGrp="1"/>
          </p:cNvSpPr>
          <p:nvPr>
            <p:ph type="body" sz="quarter" idx="31" hasCustomPrompt="1"/>
          </p:nvPr>
        </p:nvSpPr>
        <p:spPr>
          <a:xfrm>
            <a:off x="719547" y="1628775"/>
            <a:ext cx="2931570" cy="738664"/>
          </a:xfrm>
        </p:spPr>
        <p:txBody>
          <a:bodyPr wrap="square">
            <a:spAutoFit/>
          </a:bodyPr>
          <a:lstStyle>
            <a:lvl1pPr marL="0" indent="0">
              <a:buNone/>
              <a:defRPr sz="4800" b="1">
                <a:solidFill>
                  <a:schemeClr val="bg1"/>
                </a:solidFill>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a:t>Agenda</a:t>
            </a:r>
            <a:endParaRPr lang="en-US" dirty="0"/>
          </a:p>
        </p:txBody>
      </p:sp>
      <p:sp>
        <p:nvSpPr>
          <p:cNvPr id="2" name="Textplatzhalter 12">
            <a:extLst>
              <a:ext uri="{FF2B5EF4-FFF2-40B4-BE49-F238E27FC236}">
                <a16:creationId xmlns:a16="http://schemas.microsoft.com/office/drawing/2014/main" id="{7EDDADE7-6917-594A-90FF-0462A8277BCE}"/>
              </a:ext>
            </a:extLst>
          </p:cNvPr>
          <p:cNvSpPr>
            <a:spLocks noGrp="1"/>
          </p:cNvSpPr>
          <p:nvPr>
            <p:ph type="body" sz="quarter" idx="13" hasCustomPrompt="1"/>
          </p:nvPr>
        </p:nvSpPr>
        <p:spPr>
          <a:xfrm>
            <a:off x="5346700" y="1769188"/>
            <a:ext cx="603250" cy="307777"/>
          </a:xfrm>
        </p:spPr>
        <p:txBody>
          <a:bodyPr wrap="square">
            <a:spAutoFit/>
          </a:bodyPr>
          <a:lstStyle>
            <a:lvl1pPr marL="0" indent="0">
              <a:buNone/>
              <a:defRPr>
                <a:solidFill>
                  <a:schemeClr val="accent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01</a:t>
            </a:r>
            <a:endParaRPr lang="en-US" dirty="0"/>
          </a:p>
        </p:txBody>
      </p:sp>
      <p:sp>
        <p:nvSpPr>
          <p:cNvPr id="5" name="Textplatzhalter 12">
            <a:extLst>
              <a:ext uri="{FF2B5EF4-FFF2-40B4-BE49-F238E27FC236}">
                <a16:creationId xmlns:a16="http://schemas.microsoft.com/office/drawing/2014/main" id="{C6B071FD-68BB-BE86-AFA9-C982A5B1EAC1}"/>
              </a:ext>
            </a:extLst>
          </p:cNvPr>
          <p:cNvSpPr>
            <a:spLocks noGrp="1"/>
          </p:cNvSpPr>
          <p:nvPr>
            <p:ph type="body" sz="quarter" idx="14" hasCustomPrompt="1"/>
          </p:nvPr>
        </p:nvSpPr>
        <p:spPr>
          <a:xfrm>
            <a:off x="5346699" y="2200075"/>
            <a:ext cx="2892425" cy="307777"/>
          </a:xfrm>
        </p:spPr>
        <p:txBody>
          <a:bodyPr wrap="square">
            <a:spAutoFit/>
          </a:bodyPr>
          <a:lstStyle>
            <a:lvl1pPr marL="0" indent="0">
              <a:buNone/>
              <a:defRPr b="1">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Agenda </a:t>
            </a:r>
            <a:r>
              <a:rPr lang="de-DE" dirty="0" err="1"/>
              <a:t>topic</a:t>
            </a:r>
            <a:r>
              <a:rPr lang="de-DE" dirty="0"/>
              <a:t> 1</a:t>
            </a:r>
            <a:endParaRPr lang="en-US" dirty="0"/>
          </a:p>
        </p:txBody>
      </p:sp>
      <p:sp>
        <p:nvSpPr>
          <p:cNvPr id="8" name="Textplatzhalter 12">
            <a:extLst>
              <a:ext uri="{FF2B5EF4-FFF2-40B4-BE49-F238E27FC236}">
                <a16:creationId xmlns:a16="http://schemas.microsoft.com/office/drawing/2014/main" id="{209917FD-61B4-3754-AA8C-E22E76A0F626}"/>
              </a:ext>
            </a:extLst>
          </p:cNvPr>
          <p:cNvSpPr>
            <a:spLocks noGrp="1"/>
          </p:cNvSpPr>
          <p:nvPr>
            <p:ph type="body" sz="quarter" idx="15" hasCustomPrompt="1"/>
          </p:nvPr>
        </p:nvSpPr>
        <p:spPr>
          <a:xfrm>
            <a:off x="5346699" y="2509281"/>
            <a:ext cx="2892425" cy="246221"/>
          </a:xfrm>
        </p:spPr>
        <p:txBody>
          <a:bodyPr wrap="square">
            <a:spAutoFit/>
          </a:bodyPr>
          <a:lstStyle>
            <a:lvl1pPr marL="0" indent="0">
              <a:buNone/>
              <a:defRPr sz="1600" b="0">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Details</a:t>
            </a:r>
            <a:endParaRPr lang="en-US" dirty="0"/>
          </a:p>
        </p:txBody>
      </p:sp>
      <p:sp>
        <p:nvSpPr>
          <p:cNvPr id="65" name="Textplatzhalter 12">
            <a:extLst>
              <a:ext uri="{FF2B5EF4-FFF2-40B4-BE49-F238E27FC236}">
                <a16:creationId xmlns:a16="http://schemas.microsoft.com/office/drawing/2014/main" id="{B9713A3D-9F1E-7EAD-C98F-17E713E2A057}"/>
              </a:ext>
            </a:extLst>
          </p:cNvPr>
          <p:cNvSpPr>
            <a:spLocks noGrp="1"/>
          </p:cNvSpPr>
          <p:nvPr>
            <p:ph type="body" sz="quarter" idx="32" hasCustomPrompt="1"/>
          </p:nvPr>
        </p:nvSpPr>
        <p:spPr>
          <a:xfrm>
            <a:off x="8601869" y="1769188"/>
            <a:ext cx="603250" cy="307777"/>
          </a:xfrm>
        </p:spPr>
        <p:txBody>
          <a:bodyPr wrap="square">
            <a:spAutoFit/>
          </a:bodyPr>
          <a:lstStyle>
            <a:lvl1pPr marL="0" indent="0">
              <a:buNone/>
              <a:defRPr>
                <a:solidFill>
                  <a:schemeClr val="accent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02</a:t>
            </a:r>
            <a:endParaRPr lang="en-US" dirty="0"/>
          </a:p>
        </p:txBody>
      </p:sp>
      <p:sp>
        <p:nvSpPr>
          <p:cNvPr id="66" name="Textplatzhalter 12">
            <a:extLst>
              <a:ext uri="{FF2B5EF4-FFF2-40B4-BE49-F238E27FC236}">
                <a16:creationId xmlns:a16="http://schemas.microsoft.com/office/drawing/2014/main" id="{D990A8A0-AD5D-8426-1E89-27EFB4F807F6}"/>
              </a:ext>
            </a:extLst>
          </p:cNvPr>
          <p:cNvSpPr>
            <a:spLocks noGrp="1"/>
          </p:cNvSpPr>
          <p:nvPr>
            <p:ph type="body" sz="quarter" idx="33" hasCustomPrompt="1"/>
          </p:nvPr>
        </p:nvSpPr>
        <p:spPr>
          <a:xfrm>
            <a:off x="8601868" y="2200075"/>
            <a:ext cx="2892425" cy="307777"/>
          </a:xfrm>
        </p:spPr>
        <p:txBody>
          <a:bodyPr wrap="square">
            <a:spAutoFit/>
          </a:bodyPr>
          <a:lstStyle>
            <a:lvl1pPr marL="0" indent="0">
              <a:buNone/>
              <a:defRPr b="1">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Agenda </a:t>
            </a:r>
            <a:r>
              <a:rPr lang="de-DE" dirty="0" err="1"/>
              <a:t>topic</a:t>
            </a:r>
            <a:r>
              <a:rPr lang="de-DE" dirty="0"/>
              <a:t> 2</a:t>
            </a:r>
            <a:endParaRPr lang="en-US" dirty="0"/>
          </a:p>
        </p:txBody>
      </p:sp>
      <p:sp>
        <p:nvSpPr>
          <p:cNvPr id="67" name="Textplatzhalter 12">
            <a:extLst>
              <a:ext uri="{FF2B5EF4-FFF2-40B4-BE49-F238E27FC236}">
                <a16:creationId xmlns:a16="http://schemas.microsoft.com/office/drawing/2014/main" id="{BA26C544-2723-FAC7-1A96-AA2DA2A53821}"/>
              </a:ext>
            </a:extLst>
          </p:cNvPr>
          <p:cNvSpPr>
            <a:spLocks noGrp="1"/>
          </p:cNvSpPr>
          <p:nvPr>
            <p:ph type="body" sz="quarter" idx="34" hasCustomPrompt="1"/>
          </p:nvPr>
        </p:nvSpPr>
        <p:spPr>
          <a:xfrm>
            <a:off x="8601868" y="2509281"/>
            <a:ext cx="2892425" cy="246221"/>
          </a:xfrm>
        </p:spPr>
        <p:txBody>
          <a:bodyPr wrap="square">
            <a:spAutoFit/>
          </a:bodyPr>
          <a:lstStyle>
            <a:lvl1pPr marL="0" indent="0">
              <a:buNone/>
              <a:defRPr sz="1600" b="0">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Details</a:t>
            </a:r>
            <a:endParaRPr lang="en-US" dirty="0"/>
          </a:p>
        </p:txBody>
      </p:sp>
      <p:sp>
        <p:nvSpPr>
          <p:cNvPr id="91" name="Textplatzhalter 12">
            <a:extLst>
              <a:ext uri="{FF2B5EF4-FFF2-40B4-BE49-F238E27FC236}">
                <a16:creationId xmlns:a16="http://schemas.microsoft.com/office/drawing/2014/main" id="{32641F2A-1075-3F34-0925-4B14D767DB1C}"/>
              </a:ext>
            </a:extLst>
          </p:cNvPr>
          <p:cNvSpPr>
            <a:spLocks noGrp="1"/>
          </p:cNvSpPr>
          <p:nvPr>
            <p:ph type="body" sz="quarter" idx="35" hasCustomPrompt="1"/>
          </p:nvPr>
        </p:nvSpPr>
        <p:spPr>
          <a:xfrm>
            <a:off x="5346700" y="3882304"/>
            <a:ext cx="603250" cy="307777"/>
          </a:xfrm>
        </p:spPr>
        <p:txBody>
          <a:bodyPr wrap="square">
            <a:spAutoFit/>
          </a:bodyPr>
          <a:lstStyle>
            <a:lvl1pPr marL="0" indent="0">
              <a:buNone/>
              <a:defRPr>
                <a:solidFill>
                  <a:schemeClr val="accent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03</a:t>
            </a:r>
            <a:endParaRPr lang="en-US" dirty="0"/>
          </a:p>
        </p:txBody>
      </p:sp>
      <p:sp>
        <p:nvSpPr>
          <p:cNvPr id="92" name="Textplatzhalter 12">
            <a:extLst>
              <a:ext uri="{FF2B5EF4-FFF2-40B4-BE49-F238E27FC236}">
                <a16:creationId xmlns:a16="http://schemas.microsoft.com/office/drawing/2014/main" id="{14611E4A-E9E3-01A1-1ADE-3FD056491EF4}"/>
              </a:ext>
            </a:extLst>
          </p:cNvPr>
          <p:cNvSpPr>
            <a:spLocks noGrp="1"/>
          </p:cNvSpPr>
          <p:nvPr>
            <p:ph type="body" sz="quarter" idx="36" hasCustomPrompt="1"/>
          </p:nvPr>
        </p:nvSpPr>
        <p:spPr>
          <a:xfrm>
            <a:off x="5346699" y="4313191"/>
            <a:ext cx="2892425" cy="307777"/>
          </a:xfrm>
        </p:spPr>
        <p:txBody>
          <a:bodyPr wrap="square">
            <a:spAutoFit/>
          </a:bodyPr>
          <a:lstStyle>
            <a:lvl1pPr marL="0" indent="0">
              <a:buNone/>
              <a:defRPr b="1">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Agenda </a:t>
            </a:r>
            <a:r>
              <a:rPr lang="de-DE" dirty="0" err="1"/>
              <a:t>topic</a:t>
            </a:r>
            <a:r>
              <a:rPr lang="de-DE" dirty="0"/>
              <a:t> 3</a:t>
            </a:r>
            <a:endParaRPr lang="en-US" dirty="0"/>
          </a:p>
        </p:txBody>
      </p:sp>
      <p:sp>
        <p:nvSpPr>
          <p:cNvPr id="93" name="Textplatzhalter 12">
            <a:extLst>
              <a:ext uri="{FF2B5EF4-FFF2-40B4-BE49-F238E27FC236}">
                <a16:creationId xmlns:a16="http://schemas.microsoft.com/office/drawing/2014/main" id="{F33BF8CE-0F27-B798-4767-9DEEDF11CA2D}"/>
              </a:ext>
            </a:extLst>
          </p:cNvPr>
          <p:cNvSpPr>
            <a:spLocks noGrp="1"/>
          </p:cNvSpPr>
          <p:nvPr>
            <p:ph type="body" sz="quarter" idx="37" hasCustomPrompt="1"/>
          </p:nvPr>
        </p:nvSpPr>
        <p:spPr>
          <a:xfrm>
            <a:off x="5346699" y="4622397"/>
            <a:ext cx="2892425" cy="246221"/>
          </a:xfrm>
        </p:spPr>
        <p:txBody>
          <a:bodyPr wrap="square">
            <a:spAutoFit/>
          </a:bodyPr>
          <a:lstStyle>
            <a:lvl1pPr marL="0" indent="0">
              <a:buNone/>
              <a:defRPr sz="1600" b="0">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Details</a:t>
            </a:r>
            <a:endParaRPr lang="en-US" dirty="0"/>
          </a:p>
        </p:txBody>
      </p:sp>
      <p:sp>
        <p:nvSpPr>
          <p:cNvPr id="94" name="Textplatzhalter 12">
            <a:extLst>
              <a:ext uri="{FF2B5EF4-FFF2-40B4-BE49-F238E27FC236}">
                <a16:creationId xmlns:a16="http://schemas.microsoft.com/office/drawing/2014/main" id="{A1C324CD-3192-114D-70CF-6F8FC5EE76B4}"/>
              </a:ext>
            </a:extLst>
          </p:cNvPr>
          <p:cNvSpPr>
            <a:spLocks noGrp="1"/>
          </p:cNvSpPr>
          <p:nvPr>
            <p:ph type="body" sz="quarter" idx="38" hasCustomPrompt="1"/>
          </p:nvPr>
        </p:nvSpPr>
        <p:spPr>
          <a:xfrm>
            <a:off x="8601869" y="3882304"/>
            <a:ext cx="603250" cy="307777"/>
          </a:xfrm>
        </p:spPr>
        <p:txBody>
          <a:bodyPr wrap="square">
            <a:spAutoFit/>
          </a:bodyPr>
          <a:lstStyle>
            <a:lvl1pPr marL="0" indent="0">
              <a:buNone/>
              <a:defRPr>
                <a:solidFill>
                  <a:schemeClr val="accent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04</a:t>
            </a:r>
            <a:endParaRPr lang="en-US" dirty="0"/>
          </a:p>
        </p:txBody>
      </p:sp>
      <p:sp>
        <p:nvSpPr>
          <p:cNvPr id="95" name="Textplatzhalter 12">
            <a:extLst>
              <a:ext uri="{FF2B5EF4-FFF2-40B4-BE49-F238E27FC236}">
                <a16:creationId xmlns:a16="http://schemas.microsoft.com/office/drawing/2014/main" id="{D7C4AEB6-C16B-9516-EAD8-0A9918ACE331}"/>
              </a:ext>
            </a:extLst>
          </p:cNvPr>
          <p:cNvSpPr>
            <a:spLocks noGrp="1"/>
          </p:cNvSpPr>
          <p:nvPr>
            <p:ph type="body" sz="quarter" idx="39" hasCustomPrompt="1"/>
          </p:nvPr>
        </p:nvSpPr>
        <p:spPr>
          <a:xfrm>
            <a:off x="8601868" y="4313191"/>
            <a:ext cx="2892425" cy="307777"/>
          </a:xfrm>
        </p:spPr>
        <p:txBody>
          <a:bodyPr wrap="square">
            <a:spAutoFit/>
          </a:bodyPr>
          <a:lstStyle>
            <a:lvl1pPr marL="0" indent="0">
              <a:buNone/>
              <a:defRPr b="1">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Agenda </a:t>
            </a:r>
            <a:r>
              <a:rPr lang="de-DE" dirty="0" err="1"/>
              <a:t>topic</a:t>
            </a:r>
            <a:r>
              <a:rPr lang="de-DE" dirty="0"/>
              <a:t> 4</a:t>
            </a:r>
            <a:endParaRPr lang="en-US" dirty="0"/>
          </a:p>
        </p:txBody>
      </p:sp>
      <p:sp>
        <p:nvSpPr>
          <p:cNvPr id="96" name="Textplatzhalter 12">
            <a:extLst>
              <a:ext uri="{FF2B5EF4-FFF2-40B4-BE49-F238E27FC236}">
                <a16:creationId xmlns:a16="http://schemas.microsoft.com/office/drawing/2014/main" id="{7F8954A6-F085-5859-9286-A1458AD0290D}"/>
              </a:ext>
            </a:extLst>
          </p:cNvPr>
          <p:cNvSpPr>
            <a:spLocks noGrp="1"/>
          </p:cNvSpPr>
          <p:nvPr>
            <p:ph type="body" sz="quarter" idx="40" hasCustomPrompt="1"/>
          </p:nvPr>
        </p:nvSpPr>
        <p:spPr>
          <a:xfrm>
            <a:off x="8601868" y="4622397"/>
            <a:ext cx="2892425" cy="246221"/>
          </a:xfrm>
        </p:spPr>
        <p:txBody>
          <a:bodyPr wrap="square">
            <a:spAutoFit/>
          </a:bodyPr>
          <a:lstStyle>
            <a:lvl1pPr marL="0" indent="0">
              <a:buNone/>
              <a:defRPr sz="1600" b="0">
                <a:solidFill>
                  <a:schemeClr val="tx1"/>
                </a:solidFill>
              </a:defRPr>
            </a:lvl1pPr>
            <a:lvl2pPr marL="216000" indent="0">
              <a:buNone/>
              <a:defRPr/>
            </a:lvl2pPr>
            <a:lvl3pPr marL="432000" indent="0">
              <a:buNone/>
              <a:defRPr/>
            </a:lvl3pPr>
            <a:lvl4pPr marL="648000" indent="0">
              <a:buNone/>
              <a:defRPr/>
            </a:lvl4pPr>
            <a:lvl5pPr marL="864000" indent="0">
              <a:buNone/>
              <a:defRPr/>
            </a:lvl5pPr>
          </a:lstStyle>
          <a:p>
            <a:pPr lvl="0"/>
            <a:r>
              <a:rPr lang="de-DE" dirty="0"/>
              <a:t>Details</a:t>
            </a:r>
            <a:endParaRPr lang="en-US" dirty="0"/>
          </a:p>
        </p:txBody>
      </p:sp>
    </p:spTree>
    <p:extLst>
      <p:ext uri="{BB962C8B-B14F-4D97-AF65-F5344CB8AC3E}">
        <p14:creationId xmlns:p14="http://schemas.microsoft.com/office/powerpoint/2010/main" val="4843947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adient &amp; content 1">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1154299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ihandform: Form 10">
            <a:extLst>
              <a:ext uri="{FF2B5EF4-FFF2-40B4-BE49-F238E27FC236}">
                <a16:creationId xmlns:a16="http://schemas.microsoft.com/office/drawing/2014/main" id="{17D09648-0C75-DD97-7551-5CA070758DD6}"/>
              </a:ext>
            </a:extLst>
          </p:cNvPr>
          <p:cNvSpPr/>
          <p:nvPr userDrawn="1"/>
        </p:nvSpPr>
        <p:spPr>
          <a:xfrm flipH="1">
            <a:off x="3386699" y="1"/>
            <a:ext cx="8813269" cy="6857999"/>
          </a:xfrm>
          <a:custGeom>
            <a:avLst/>
            <a:gdLst>
              <a:gd name="connsiteX0" fmla="*/ 8813269 w 8813269"/>
              <a:gd name="connsiteY0" fmla="*/ 0 h 6857999"/>
              <a:gd name="connsiteX1" fmla="*/ 1994462 w 8813269"/>
              <a:gd name="connsiteY1" fmla="*/ 0 h 6857999"/>
              <a:gd name="connsiteX2" fmla="*/ 0 w 8813269"/>
              <a:gd name="connsiteY2" fmla="*/ 2654436 h 6857999"/>
              <a:gd name="connsiteX3" fmla="*/ 0 w 8813269"/>
              <a:gd name="connsiteY3" fmla="*/ 6857999 h 6857999"/>
              <a:gd name="connsiteX4" fmla="*/ 3581455 w 8813269"/>
              <a:gd name="connsiteY4" fmla="*/ 6857999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3269" h="6857999">
                <a:moveTo>
                  <a:pt x="8813269" y="0"/>
                </a:moveTo>
                <a:lnTo>
                  <a:pt x="1994462" y="0"/>
                </a:lnTo>
                <a:lnTo>
                  <a:pt x="0" y="2654436"/>
                </a:lnTo>
                <a:lnTo>
                  <a:pt x="0" y="6857999"/>
                </a:lnTo>
                <a:lnTo>
                  <a:pt x="3581455" y="6857999"/>
                </a:lnTo>
                <a:close/>
              </a:path>
            </a:pathLst>
          </a:custGeom>
          <a:solidFill>
            <a:schemeClr val="bg2">
              <a:alpha val="45000"/>
            </a:schemeClr>
          </a:solidFill>
          <a:ln w="6540" cap="flat">
            <a:noFill/>
            <a:prstDash val="solid"/>
            <a:miter/>
          </a:ln>
        </p:spPr>
        <p:txBody>
          <a:bodyPr wrap="square" rtlCol="0" anchor="ctr">
            <a:noAutofit/>
          </a:bodyPr>
          <a:lstStyle/>
          <a:p>
            <a:pPr lvl="0"/>
            <a:endParaRPr lang="en-GB" dirty="0"/>
          </a:p>
        </p:txBody>
      </p:sp>
      <p:grpSp>
        <p:nvGrpSpPr>
          <p:cNvPr id="7" name="Gruppieren 6">
            <a:extLst>
              <a:ext uri="{FF2B5EF4-FFF2-40B4-BE49-F238E27FC236}">
                <a16:creationId xmlns:a16="http://schemas.microsoft.com/office/drawing/2014/main" id="{95E6AD5D-7221-E3C6-DEDD-7632BB58CE18}"/>
              </a:ext>
            </a:extLst>
          </p:cNvPr>
          <p:cNvGrpSpPr/>
          <p:nvPr userDrawn="1"/>
        </p:nvGrpSpPr>
        <p:grpSpPr>
          <a:xfrm>
            <a:off x="9938597" y="441325"/>
            <a:ext cx="1558078" cy="295275"/>
            <a:chOff x="9938597" y="441325"/>
            <a:chExt cx="1558078" cy="295275"/>
          </a:xfrm>
        </p:grpSpPr>
        <p:sp>
          <p:nvSpPr>
            <p:cNvPr id="9" name="Freeform: Shape 10">
              <a:extLst>
                <a:ext uri="{FF2B5EF4-FFF2-40B4-BE49-F238E27FC236}">
                  <a16:creationId xmlns:a16="http://schemas.microsoft.com/office/drawing/2014/main" id="{9C4AB1CA-9EDA-8DD1-E1E4-3BC75A6E6AB7}"/>
                </a:ext>
              </a:extLst>
            </p:cNvPr>
            <p:cNvSpPr/>
            <p:nvPr/>
          </p:nvSpPr>
          <p:spPr>
            <a:xfrm>
              <a:off x="9938597" y="441325"/>
              <a:ext cx="77518" cy="289100"/>
            </a:xfrm>
            <a:custGeom>
              <a:avLst/>
              <a:gdLst>
                <a:gd name="connsiteX0" fmla="*/ 92671 w 92670"/>
                <a:gd name="connsiteY0" fmla="*/ 0 h 338478"/>
                <a:gd name="connsiteX1" fmla="*/ 0 w 92670"/>
                <a:gd name="connsiteY1" fmla="*/ 0 h 338478"/>
                <a:gd name="connsiteX2" fmla="*/ 0 w 92670"/>
                <a:gd name="connsiteY2" fmla="*/ 338478 h 338478"/>
                <a:gd name="connsiteX3" fmla="*/ 92671 w 92670"/>
                <a:gd name="connsiteY3" fmla="*/ 217546 h 338478"/>
              </a:gdLst>
              <a:ahLst/>
              <a:cxnLst>
                <a:cxn ang="0">
                  <a:pos x="connsiteX0" y="connsiteY0"/>
                </a:cxn>
                <a:cxn ang="0">
                  <a:pos x="connsiteX1" y="connsiteY1"/>
                </a:cxn>
                <a:cxn ang="0">
                  <a:pos x="connsiteX2" y="connsiteY2"/>
                </a:cxn>
                <a:cxn ang="0">
                  <a:pos x="connsiteX3" y="connsiteY3"/>
                </a:cxn>
              </a:cxnLst>
              <a:rect l="l" t="t" r="r" b="b"/>
              <a:pathLst>
                <a:path w="92670" h="338478">
                  <a:moveTo>
                    <a:pt x="92671" y="0"/>
                  </a:moveTo>
                  <a:lnTo>
                    <a:pt x="0" y="0"/>
                  </a:lnTo>
                  <a:lnTo>
                    <a:pt x="0" y="338478"/>
                  </a:lnTo>
                  <a:lnTo>
                    <a:pt x="92671" y="217546"/>
                  </a:lnTo>
                  <a:close/>
                </a:path>
              </a:pathLst>
            </a:custGeom>
            <a:solidFill>
              <a:schemeClr val="accent3"/>
            </a:solidFill>
            <a:ln w="6540" cap="flat">
              <a:noFill/>
              <a:prstDash val="solid"/>
              <a:miter/>
            </a:ln>
          </p:spPr>
          <p:txBody>
            <a:bodyPr rtlCol="0" anchor="ctr"/>
            <a:lstStyle/>
            <a:p>
              <a:endParaRPr lang="en-GB"/>
            </a:p>
          </p:txBody>
        </p:sp>
        <p:sp>
          <p:nvSpPr>
            <p:cNvPr id="10" name="Freeform: Shape 11">
              <a:extLst>
                <a:ext uri="{FF2B5EF4-FFF2-40B4-BE49-F238E27FC236}">
                  <a16:creationId xmlns:a16="http://schemas.microsoft.com/office/drawing/2014/main" id="{A6C3246B-613A-02A5-6E13-F2EB67F70B94}"/>
                </a:ext>
              </a:extLst>
            </p:cNvPr>
            <p:cNvSpPr/>
            <p:nvPr/>
          </p:nvSpPr>
          <p:spPr>
            <a:xfrm>
              <a:off x="10016115" y="441325"/>
              <a:ext cx="1480560" cy="295275"/>
            </a:xfrm>
            <a:custGeom>
              <a:avLst/>
              <a:gdLst>
                <a:gd name="connsiteX0" fmla="*/ 196515 w 1769954"/>
                <a:gd name="connsiteY0" fmla="*/ 92671 h 345708"/>
                <a:gd name="connsiteX1" fmla="*/ 99243 w 1769954"/>
                <a:gd name="connsiteY1" fmla="*/ 217546 h 345708"/>
                <a:gd name="connsiteX2" fmla="*/ 194543 w 1769954"/>
                <a:gd name="connsiteY2" fmla="*/ 338478 h 345708"/>
                <a:gd name="connsiteX3" fmla="*/ 84784 w 1769954"/>
                <a:gd name="connsiteY3" fmla="*/ 338478 h 345708"/>
                <a:gd name="connsiteX4" fmla="*/ 0 w 1769954"/>
                <a:gd name="connsiteY4" fmla="*/ 217546 h 345708"/>
                <a:gd name="connsiteX5" fmla="*/ 95300 w 1769954"/>
                <a:gd name="connsiteY5" fmla="*/ 93328 h 345708"/>
                <a:gd name="connsiteX6" fmla="*/ 196515 w 1769954"/>
                <a:gd name="connsiteY6" fmla="*/ 92671 h 345708"/>
                <a:gd name="connsiteX7" fmla="*/ 338478 w 1769954"/>
                <a:gd name="connsiteY7" fmla="*/ 85441 h 345708"/>
                <a:gd name="connsiteX8" fmla="*/ 195857 w 1769954"/>
                <a:gd name="connsiteY8" fmla="*/ 215575 h 345708"/>
                <a:gd name="connsiteX9" fmla="*/ 338478 w 1769954"/>
                <a:gd name="connsiteY9" fmla="*/ 345708 h 345708"/>
                <a:gd name="connsiteX10" fmla="*/ 481100 w 1769954"/>
                <a:gd name="connsiteY10" fmla="*/ 215575 h 345708"/>
                <a:gd name="connsiteX11" fmla="*/ 338478 w 1769954"/>
                <a:gd name="connsiteY11" fmla="*/ 85441 h 345708"/>
                <a:gd name="connsiteX12" fmla="*/ 291157 w 1769954"/>
                <a:gd name="connsiteY12" fmla="*/ 215575 h 345708"/>
                <a:gd name="connsiteX13" fmla="*/ 338478 w 1769954"/>
                <a:gd name="connsiteY13" fmla="*/ 139335 h 345708"/>
                <a:gd name="connsiteX14" fmla="*/ 385800 w 1769954"/>
                <a:gd name="connsiteY14" fmla="*/ 215575 h 345708"/>
                <a:gd name="connsiteX15" fmla="*/ 338478 w 1769954"/>
                <a:gd name="connsiteY15" fmla="*/ 291814 h 345708"/>
                <a:gd name="connsiteX16" fmla="*/ 291157 w 1769954"/>
                <a:gd name="connsiteY16" fmla="*/ 215575 h 345708"/>
                <a:gd name="connsiteX17" fmla="*/ 683529 w 1769954"/>
                <a:gd name="connsiteY17" fmla="*/ 85441 h 345708"/>
                <a:gd name="connsiteX18" fmla="*/ 606632 w 1769954"/>
                <a:gd name="connsiteY18" fmla="*/ 119618 h 345708"/>
                <a:gd name="connsiteX19" fmla="*/ 605318 w 1769954"/>
                <a:gd name="connsiteY19" fmla="*/ 92671 h 345708"/>
                <a:gd name="connsiteX20" fmla="*/ 513962 w 1769954"/>
                <a:gd name="connsiteY20" fmla="*/ 92671 h 345708"/>
                <a:gd name="connsiteX21" fmla="*/ 513962 w 1769954"/>
                <a:gd name="connsiteY21" fmla="*/ 337821 h 345708"/>
                <a:gd name="connsiteX22" fmla="*/ 606632 w 1769954"/>
                <a:gd name="connsiteY22" fmla="*/ 337821 h 345708"/>
                <a:gd name="connsiteX23" fmla="*/ 606632 w 1769954"/>
                <a:gd name="connsiteY23" fmla="*/ 197172 h 345708"/>
                <a:gd name="connsiteX24" fmla="*/ 646724 w 1769954"/>
                <a:gd name="connsiteY24" fmla="*/ 143935 h 345708"/>
                <a:gd name="connsiteX25" fmla="*/ 682215 w 1769954"/>
                <a:gd name="connsiteY25" fmla="*/ 193886 h 345708"/>
                <a:gd name="connsiteX26" fmla="*/ 682215 w 1769954"/>
                <a:gd name="connsiteY26" fmla="*/ 337821 h 345708"/>
                <a:gd name="connsiteX27" fmla="*/ 774886 w 1769954"/>
                <a:gd name="connsiteY27" fmla="*/ 337821 h 345708"/>
                <a:gd name="connsiteX28" fmla="*/ 774886 w 1769954"/>
                <a:gd name="connsiteY28" fmla="*/ 173511 h 345708"/>
                <a:gd name="connsiteX29" fmla="*/ 683529 w 1769954"/>
                <a:gd name="connsiteY29" fmla="*/ 85441 h 345708"/>
                <a:gd name="connsiteX30" fmla="*/ 815635 w 1769954"/>
                <a:gd name="connsiteY30" fmla="*/ 260924 h 345708"/>
                <a:gd name="connsiteX31" fmla="*/ 912249 w 1769954"/>
                <a:gd name="connsiteY31" fmla="*/ 345051 h 345708"/>
                <a:gd name="connsiteX32" fmla="*/ 962199 w 1769954"/>
                <a:gd name="connsiteY32" fmla="*/ 340450 h 345708"/>
                <a:gd name="connsiteX33" fmla="*/ 962199 w 1769954"/>
                <a:gd name="connsiteY33" fmla="*/ 285242 h 345708"/>
                <a:gd name="connsiteX34" fmla="*/ 926708 w 1769954"/>
                <a:gd name="connsiteY34" fmla="*/ 286556 h 345708"/>
                <a:gd name="connsiteX35" fmla="*/ 908963 w 1769954"/>
                <a:gd name="connsiteY35" fmla="*/ 248437 h 345708"/>
                <a:gd name="connsiteX36" fmla="*/ 908963 w 1769954"/>
                <a:gd name="connsiteY36" fmla="*/ 151165 h 345708"/>
                <a:gd name="connsiteX37" fmla="*/ 962856 w 1769954"/>
                <a:gd name="connsiteY37" fmla="*/ 151165 h 345708"/>
                <a:gd name="connsiteX38" fmla="*/ 962856 w 1769954"/>
                <a:gd name="connsiteY38" fmla="*/ 93328 h 345708"/>
                <a:gd name="connsiteX39" fmla="*/ 908963 w 1769954"/>
                <a:gd name="connsiteY39" fmla="*/ 93328 h 345708"/>
                <a:gd name="connsiteX40" fmla="*/ 908963 w 1769954"/>
                <a:gd name="connsiteY40" fmla="*/ 0 h 345708"/>
                <a:gd name="connsiteX41" fmla="*/ 816292 w 1769954"/>
                <a:gd name="connsiteY41" fmla="*/ 120932 h 345708"/>
                <a:gd name="connsiteX42" fmla="*/ 815635 w 1769954"/>
                <a:gd name="connsiteY42" fmla="*/ 260924 h 345708"/>
                <a:gd name="connsiteX43" fmla="*/ 1097591 w 1769954"/>
                <a:gd name="connsiteY43" fmla="*/ 92671 h 345708"/>
                <a:gd name="connsiteX44" fmla="*/ 1006234 w 1769954"/>
                <a:gd name="connsiteY44" fmla="*/ 92671 h 345708"/>
                <a:gd name="connsiteX45" fmla="*/ 1006234 w 1769954"/>
                <a:gd name="connsiteY45" fmla="*/ 337821 h 345708"/>
                <a:gd name="connsiteX46" fmla="*/ 1098905 w 1769954"/>
                <a:gd name="connsiteY46" fmla="*/ 337821 h 345708"/>
                <a:gd name="connsiteX47" fmla="*/ 1098905 w 1769954"/>
                <a:gd name="connsiteY47" fmla="*/ 239235 h 345708"/>
                <a:gd name="connsiteX48" fmla="*/ 1162657 w 1769954"/>
                <a:gd name="connsiteY48" fmla="*/ 162995 h 345708"/>
                <a:gd name="connsiteX49" fmla="*/ 1182374 w 1769954"/>
                <a:gd name="connsiteY49" fmla="*/ 163653 h 345708"/>
                <a:gd name="connsiteX50" fmla="*/ 1182374 w 1769954"/>
                <a:gd name="connsiteY50" fmla="*/ 85441 h 345708"/>
                <a:gd name="connsiteX51" fmla="*/ 1100219 w 1769954"/>
                <a:gd name="connsiteY51" fmla="*/ 138678 h 345708"/>
                <a:gd name="connsiteX52" fmla="*/ 1099562 w 1769954"/>
                <a:gd name="connsiteY52" fmla="*/ 138678 h 345708"/>
                <a:gd name="connsiteX53" fmla="*/ 1097591 w 1769954"/>
                <a:gd name="connsiteY53" fmla="*/ 92671 h 345708"/>
                <a:gd name="connsiteX54" fmla="*/ 1338140 w 1769954"/>
                <a:gd name="connsiteY54" fmla="*/ 85441 h 345708"/>
                <a:gd name="connsiteX55" fmla="*/ 1195519 w 1769954"/>
                <a:gd name="connsiteY55" fmla="*/ 215575 h 345708"/>
                <a:gd name="connsiteX56" fmla="*/ 1338140 w 1769954"/>
                <a:gd name="connsiteY56" fmla="*/ 345708 h 345708"/>
                <a:gd name="connsiteX57" fmla="*/ 1480761 w 1769954"/>
                <a:gd name="connsiteY57" fmla="*/ 215575 h 345708"/>
                <a:gd name="connsiteX58" fmla="*/ 1338140 w 1769954"/>
                <a:gd name="connsiteY58" fmla="*/ 85441 h 345708"/>
                <a:gd name="connsiteX59" fmla="*/ 1290819 w 1769954"/>
                <a:gd name="connsiteY59" fmla="*/ 215575 h 345708"/>
                <a:gd name="connsiteX60" fmla="*/ 1338140 w 1769954"/>
                <a:gd name="connsiteY60" fmla="*/ 139335 h 345708"/>
                <a:gd name="connsiteX61" fmla="*/ 1385461 w 1769954"/>
                <a:gd name="connsiteY61" fmla="*/ 215575 h 345708"/>
                <a:gd name="connsiteX62" fmla="*/ 1338140 w 1769954"/>
                <a:gd name="connsiteY62" fmla="*/ 291814 h 345708"/>
                <a:gd name="connsiteX63" fmla="*/ 1290819 w 1769954"/>
                <a:gd name="connsiteY63" fmla="*/ 215575 h 345708"/>
                <a:gd name="connsiteX64" fmla="*/ 1678590 w 1769954"/>
                <a:gd name="connsiteY64" fmla="*/ 85441 h 345708"/>
                <a:gd name="connsiteX65" fmla="*/ 1601693 w 1769954"/>
                <a:gd name="connsiteY65" fmla="*/ 119618 h 345708"/>
                <a:gd name="connsiteX66" fmla="*/ 1600379 w 1769954"/>
                <a:gd name="connsiteY66" fmla="*/ 92671 h 345708"/>
                <a:gd name="connsiteX67" fmla="*/ 1509023 w 1769954"/>
                <a:gd name="connsiteY67" fmla="*/ 92671 h 345708"/>
                <a:gd name="connsiteX68" fmla="*/ 1509023 w 1769954"/>
                <a:gd name="connsiteY68" fmla="*/ 337821 h 345708"/>
                <a:gd name="connsiteX69" fmla="*/ 1601693 w 1769954"/>
                <a:gd name="connsiteY69" fmla="*/ 337821 h 345708"/>
                <a:gd name="connsiteX70" fmla="*/ 1601693 w 1769954"/>
                <a:gd name="connsiteY70" fmla="*/ 197829 h 345708"/>
                <a:gd name="connsiteX71" fmla="*/ 1641785 w 1769954"/>
                <a:gd name="connsiteY71" fmla="*/ 144593 h 345708"/>
                <a:gd name="connsiteX72" fmla="*/ 1677276 w 1769954"/>
                <a:gd name="connsiteY72" fmla="*/ 194543 h 345708"/>
                <a:gd name="connsiteX73" fmla="*/ 1677276 w 1769954"/>
                <a:gd name="connsiteY73" fmla="*/ 338478 h 345708"/>
                <a:gd name="connsiteX74" fmla="*/ 1769947 w 1769954"/>
                <a:gd name="connsiteY74" fmla="*/ 338478 h 345708"/>
                <a:gd name="connsiteX75" fmla="*/ 1769947 w 1769954"/>
                <a:gd name="connsiteY75" fmla="*/ 174169 h 345708"/>
                <a:gd name="connsiteX76" fmla="*/ 1678590 w 1769954"/>
                <a:gd name="connsiteY76" fmla="*/ 85441 h 34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69954" h="345708">
                  <a:moveTo>
                    <a:pt x="196515" y="92671"/>
                  </a:moveTo>
                  <a:lnTo>
                    <a:pt x="99243" y="217546"/>
                  </a:lnTo>
                  <a:lnTo>
                    <a:pt x="194543" y="338478"/>
                  </a:lnTo>
                  <a:lnTo>
                    <a:pt x="84784" y="338478"/>
                  </a:lnTo>
                  <a:lnTo>
                    <a:pt x="0" y="217546"/>
                  </a:lnTo>
                  <a:lnTo>
                    <a:pt x="95300" y="93328"/>
                  </a:lnTo>
                  <a:lnTo>
                    <a:pt x="196515" y="92671"/>
                  </a:lnTo>
                  <a:close/>
                  <a:moveTo>
                    <a:pt x="338478" y="85441"/>
                  </a:moveTo>
                  <a:cubicBezTo>
                    <a:pt x="261581" y="85441"/>
                    <a:pt x="195857" y="124876"/>
                    <a:pt x="195857" y="215575"/>
                  </a:cubicBezTo>
                  <a:cubicBezTo>
                    <a:pt x="195857" y="306274"/>
                    <a:pt x="261581" y="345708"/>
                    <a:pt x="338478" y="345708"/>
                  </a:cubicBezTo>
                  <a:cubicBezTo>
                    <a:pt x="415376" y="345708"/>
                    <a:pt x="481100" y="306274"/>
                    <a:pt x="481100" y="215575"/>
                  </a:cubicBezTo>
                  <a:cubicBezTo>
                    <a:pt x="481757" y="125533"/>
                    <a:pt x="415376" y="85441"/>
                    <a:pt x="338478" y="85441"/>
                  </a:cubicBezTo>
                  <a:close/>
                  <a:moveTo>
                    <a:pt x="291157" y="215575"/>
                  </a:moveTo>
                  <a:cubicBezTo>
                    <a:pt x="291157" y="180741"/>
                    <a:pt x="299701" y="139335"/>
                    <a:pt x="338478" y="139335"/>
                  </a:cubicBezTo>
                  <a:cubicBezTo>
                    <a:pt x="377256" y="139335"/>
                    <a:pt x="385800" y="180741"/>
                    <a:pt x="385800" y="215575"/>
                  </a:cubicBezTo>
                  <a:cubicBezTo>
                    <a:pt x="385800" y="250408"/>
                    <a:pt x="377256" y="291814"/>
                    <a:pt x="338478" y="291814"/>
                  </a:cubicBezTo>
                  <a:cubicBezTo>
                    <a:pt x="299701" y="291814"/>
                    <a:pt x="291157" y="250408"/>
                    <a:pt x="291157" y="215575"/>
                  </a:cubicBezTo>
                  <a:close/>
                  <a:moveTo>
                    <a:pt x="683529" y="85441"/>
                  </a:moveTo>
                  <a:cubicBezTo>
                    <a:pt x="651982" y="85441"/>
                    <a:pt x="627664" y="95300"/>
                    <a:pt x="606632" y="119618"/>
                  </a:cubicBezTo>
                  <a:lnTo>
                    <a:pt x="605318" y="92671"/>
                  </a:lnTo>
                  <a:lnTo>
                    <a:pt x="513962" y="92671"/>
                  </a:lnTo>
                  <a:lnTo>
                    <a:pt x="513962" y="337821"/>
                  </a:lnTo>
                  <a:lnTo>
                    <a:pt x="606632" y="337821"/>
                  </a:lnTo>
                  <a:lnTo>
                    <a:pt x="606632" y="197172"/>
                  </a:lnTo>
                  <a:cubicBezTo>
                    <a:pt x="606632" y="194543"/>
                    <a:pt x="600717" y="143935"/>
                    <a:pt x="646724" y="143935"/>
                  </a:cubicBezTo>
                  <a:cubicBezTo>
                    <a:pt x="675643" y="143935"/>
                    <a:pt x="681558" y="169568"/>
                    <a:pt x="682215" y="193886"/>
                  </a:cubicBezTo>
                  <a:lnTo>
                    <a:pt x="682215" y="337821"/>
                  </a:lnTo>
                  <a:lnTo>
                    <a:pt x="774886" y="337821"/>
                  </a:lnTo>
                  <a:lnTo>
                    <a:pt x="774886" y="173511"/>
                  </a:lnTo>
                  <a:cubicBezTo>
                    <a:pt x="774886" y="119618"/>
                    <a:pt x="736109" y="85441"/>
                    <a:pt x="683529" y="85441"/>
                  </a:cubicBezTo>
                  <a:close/>
                  <a:moveTo>
                    <a:pt x="815635" y="260924"/>
                  </a:moveTo>
                  <a:cubicBezTo>
                    <a:pt x="811034" y="336507"/>
                    <a:pt x="849154" y="345051"/>
                    <a:pt x="912249" y="345051"/>
                  </a:cubicBezTo>
                  <a:cubicBezTo>
                    <a:pt x="926051" y="345051"/>
                    <a:pt x="941167" y="344394"/>
                    <a:pt x="962199" y="340450"/>
                  </a:cubicBezTo>
                  <a:lnTo>
                    <a:pt x="962199" y="285242"/>
                  </a:lnTo>
                  <a:cubicBezTo>
                    <a:pt x="951683" y="286556"/>
                    <a:pt x="938538" y="286556"/>
                    <a:pt x="926708" y="286556"/>
                  </a:cubicBezTo>
                  <a:cubicBezTo>
                    <a:pt x="905019" y="286556"/>
                    <a:pt x="908963" y="255009"/>
                    <a:pt x="908963" y="248437"/>
                  </a:cubicBezTo>
                  <a:lnTo>
                    <a:pt x="908963" y="151165"/>
                  </a:lnTo>
                  <a:lnTo>
                    <a:pt x="962856" y="151165"/>
                  </a:lnTo>
                  <a:lnTo>
                    <a:pt x="962856" y="93328"/>
                  </a:lnTo>
                  <a:lnTo>
                    <a:pt x="908963" y="93328"/>
                  </a:lnTo>
                  <a:lnTo>
                    <a:pt x="908963" y="0"/>
                  </a:lnTo>
                  <a:lnTo>
                    <a:pt x="816292" y="120932"/>
                  </a:lnTo>
                  <a:lnTo>
                    <a:pt x="815635" y="260924"/>
                  </a:lnTo>
                  <a:close/>
                  <a:moveTo>
                    <a:pt x="1097591" y="92671"/>
                  </a:moveTo>
                  <a:lnTo>
                    <a:pt x="1006234" y="92671"/>
                  </a:lnTo>
                  <a:lnTo>
                    <a:pt x="1006234" y="337821"/>
                  </a:lnTo>
                  <a:lnTo>
                    <a:pt x="1098905" y="337821"/>
                  </a:lnTo>
                  <a:lnTo>
                    <a:pt x="1098905" y="239235"/>
                  </a:lnTo>
                  <a:cubicBezTo>
                    <a:pt x="1097591" y="192571"/>
                    <a:pt x="1114022" y="163653"/>
                    <a:pt x="1162657" y="162995"/>
                  </a:cubicBezTo>
                  <a:cubicBezTo>
                    <a:pt x="1169230" y="162995"/>
                    <a:pt x="1175145" y="162995"/>
                    <a:pt x="1182374" y="163653"/>
                  </a:cubicBezTo>
                  <a:lnTo>
                    <a:pt x="1182374" y="85441"/>
                  </a:lnTo>
                  <a:cubicBezTo>
                    <a:pt x="1141626" y="84784"/>
                    <a:pt x="1110735" y="97929"/>
                    <a:pt x="1100219" y="138678"/>
                  </a:cubicBezTo>
                  <a:lnTo>
                    <a:pt x="1099562" y="138678"/>
                  </a:lnTo>
                  <a:lnTo>
                    <a:pt x="1097591" y="92671"/>
                  </a:lnTo>
                  <a:close/>
                  <a:moveTo>
                    <a:pt x="1338140" y="85441"/>
                  </a:moveTo>
                  <a:cubicBezTo>
                    <a:pt x="1261243" y="85441"/>
                    <a:pt x="1195519" y="124876"/>
                    <a:pt x="1195519" y="215575"/>
                  </a:cubicBezTo>
                  <a:cubicBezTo>
                    <a:pt x="1195519" y="306274"/>
                    <a:pt x="1261243" y="345708"/>
                    <a:pt x="1338140" y="345708"/>
                  </a:cubicBezTo>
                  <a:cubicBezTo>
                    <a:pt x="1415037" y="345708"/>
                    <a:pt x="1480761" y="306274"/>
                    <a:pt x="1480761" y="215575"/>
                  </a:cubicBezTo>
                  <a:cubicBezTo>
                    <a:pt x="1480761" y="124876"/>
                    <a:pt x="1414380" y="85441"/>
                    <a:pt x="1338140" y="85441"/>
                  </a:cubicBezTo>
                  <a:close/>
                  <a:moveTo>
                    <a:pt x="1290819" y="215575"/>
                  </a:moveTo>
                  <a:cubicBezTo>
                    <a:pt x="1290819" y="180741"/>
                    <a:pt x="1299363" y="139335"/>
                    <a:pt x="1338140" y="139335"/>
                  </a:cubicBezTo>
                  <a:cubicBezTo>
                    <a:pt x="1376917" y="139335"/>
                    <a:pt x="1385461" y="180741"/>
                    <a:pt x="1385461" y="215575"/>
                  </a:cubicBezTo>
                  <a:cubicBezTo>
                    <a:pt x="1385461" y="250408"/>
                    <a:pt x="1376917" y="291814"/>
                    <a:pt x="1338140" y="291814"/>
                  </a:cubicBezTo>
                  <a:cubicBezTo>
                    <a:pt x="1298706" y="291814"/>
                    <a:pt x="1290819" y="250408"/>
                    <a:pt x="1290819" y="215575"/>
                  </a:cubicBezTo>
                  <a:close/>
                  <a:moveTo>
                    <a:pt x="1678590" y="85441"/>
                  </a:moveTo>
                  <a:cubicBezTo>
                    <a:pt x="1647043" y="85441"/>
                    <a:pt x="1622725" y="95300"/>
                    <a:pt x="1601693" y="119618"/>
                  </a:cubicBezTo>
                  <a:lnTo>
                    <a:pt x="1600379" y="92671"/>
                  </a:lnTo>
                  <a:lnTo>
                    <a:pt x="1509023" y="92671"/>
                  </a:lnTo>
                  <a:lnTo>
                    <a:pt x="1509023" y="337821"/>
                  </a:lnTo>
                  <a:lnTo>
                    <a:pt x="1601693" y="337821"/>
                  </a:lnTo>
                  <a:lnTo>
                    <a:pt x="1601693" y="197829"/>
                  </a:lnTo>
                  <a:cubicBezTo>
                    <a:pt x="1601693" y="195200"/>
                    <a:pt x="1595778" y="144593"/>
                    <a:pt x="1641785" y="144593"/>
                  </a:cubicBezTo>
                  <a:cubicBezTo>
                    <a:pt x="1670704" y="144593"/>
                    <a:pt x="1676619" y="170225"/>
                    <a:pt x="1677276" y="194543"/>
                  </a:cubicBezTo>
                  <a:lnTo>
                    <a:pt x="1677276" y="338478"/>
                  </a:lnTo>
                  <a:lnTo>
                    <a:pt x="1769947" y="338478"/>
                  </a:lnTo>
                  <a:lnTo>
                    <a:pt x="1769947" y="174169"/>
                  </a:lnTo>
                  <a:cubicBezTo>
                    <a:pt x="1770604" y="119618"/>
                    <a:pt x="1731170" y="85441"/>
                    <a:pt x="1678590" y="85441"/>
                  </a:cubicBezTo>
                  <a:close/>
                </a:path>
              </a:pathLst>
            </a:custGeom>
            <a:solidFill>
              <a:schemeClr val="accent1"/>
            </a:solidFill>
            <a:ln w="6540" cap="flat">
              <a:noFill/>
              <a:prstDash val="solid"/>
              <a:miter/>
            </a:ln>
          </p:spPr>
          <p:txBody>
            <a:bodyPr rtlCol="0" anchor="ctr"/>
            <a:lstStyle/>
            <a:p>
              <a:endParaRPr lang="en-GB" dirty="0"/>
            </a:p>
          </p:txBody>
        </p:sp>
      </p:gr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64" name="Freihandform: Form 63">
            <a:extLst>
              <a:ext uri="{FF2B5EF4-FFF2-40B4-BE49-F238E27FC236}">
                <a16:creationId xmlns:a16="http://schemas.microsoft.com/office/drawing/2014/main" id="{B70FF43D-DC81-AC09-45B7-E3BB2388D467}"/>
              </a:ext>
            </a:extLst>
          </p:cNvPr>
          <p:cNvSpPr/>
          <p:nvPr userDrawn="1"/>
        </p:nvSpPr>
        <p:spPr>
          <a:xfrm>
            <a:off x="0" y="0"/>
            <a:ext cx="6096000" cy="6873277"/>
          </a:xfrm>
          <a:custGeom>
            <a:avLst/>
            <a:gdLst>
              <a:gd name="connsiteX0" fmla="*/ 0 w 6096000"/>
              <a:gd name="connsiteY0" fmla="*/ 0 h 6858000"/>
              <a:gd name="connsiteX1" fmla="*/ 189454 w 6096000"/>
              <a:gd name="connsiteY1" fmla="*/ 0 h 6858000"/>
              <a:gd name="connsiteX2" fmla="*/ 4546243 w 6096000"/>
              <a:gd name="connsiteY2" fmla="*/ 0 h 6858000"/>
              <a:gd name="connsiteX3" fmla="*/ 6096000 w 6096000"/>
              <a:gd name="connsiteY3" fmla="*/ 2062577 h 6858000"/>
              <a:gd name="connsiteX4" fmla="*/ 2803319 w 6096000"/>
              <a:gd name="connsiteY4" fmla="*/ 6858000 h 6858000"/>
              <a:gd name="connsiteX5" fmla="*/ 189454 w 6096000"/>
              <a:gd name="connsiteY5" fmla="*/ 6858000 h 6858000"/>
              <a:gd name="connsiteX6" fmla="*/ 0 w 6096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0" h="6858000">
                <a:moveTo>
                  <a:pt x="0" y="0"/>
                </a:moveTo>
                <a:lnTo>
                  <a:pt x="189454" y="0"/>
                </a:lnTo>
                <a:lnTo>
                  <a:pt x="4546243" y="0"/>
                </a:lnTo>
                <a:lnTo>
                  <a:pt x="6096000" y="2062577"/>
                </a:lnTo>
                <a:lnTo>
                  <a:pt x="2803319" y="6858000"/>
                </a:lnTo>
                <a:lnTo>
                  <a:pt x="189454" y="6858000"/>
                </a:lnTo>
                <a:lnTo>
                  <a:pt x="0" y="6858000"/>
                </a:lnTo>
                <a:close/>
              </a:path>
            </a:pathLst>
          </a:custGeom>
          <a:gradFill>
            <a:gsLst>
              <a:gs pos="11000">
                <a:schemeClr val="accent1"/>
              </a:gs>
              <a:gs pos="100000">
                <a:schemeClr val="accent3"/>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7" name="Titel 26">
            <a:extLst>
              <a:ext uri="{FF2B5EF4-FFF2-40B4-BE49-F238E27FC236}">
                <a16:creationId xmlns:a16="http://schemas.microsoft.com/office/drawing/2014/main" id="{C13B8925-254E-71DF-C904-6A94BAA0B7FE}"/>
              </a:ext>
            </a:extLst>
          </p:cNvPr>
          <p:cNvSpPr>
            <a:spLocks noGrp="1"/>
          </p:cNvSpPr>
          <p:nvPr>
            <p:ph type="title" hasCustomPrompt="1"/>
          </p:nvPr>
        </p:nvSpPr>
        <p:spPr>
          <a:xfrm>
            <a:off x="695325" y="372268"/>
            <a:ext cx="3973494" cy="443198"/>
          </a:xfrm>
        </p:spPr>
        <p:txBody>
          <a:bodyPr vert="horz"/>
          <a:lstStyle>
            <a:lvl1pPr>
              <a:defRPr>
                <a:solidFill>
                  <a:schemeClr val="bg1"/>
                </a:solidFill>
              </a:defRPr>
            </a:lvl1pPr>
          </a:lstStyle>
          <a:p>
            <a:r>
              <a:rPr lang="de-DE" dirty="0"/>
              <a:t>Title, Calibri </a:t>
            </a:r>
            <a:r>
              <a:rPr lang="de-DE" dirty="0" err="1"/>
              <a:t>Bold</a:t>
            </a:r>
            <a:r>
              <a:rPr lang="de-DE" dirty="0"/>
              <a:t>, 32pt</a:t>
            </a:r>
            <a:endParaRPr lang="en-US" dirty="0"/>
          </a:p>
        </p:txBody>
      </p:sp>
      <p:sp>
        <p:nvSpPr>
          <p:cNvPr id="28" name="Textplatzhalter 7">
            <a:extLst>
              <a:ext uri="{FF2B5EF4-FFF2-40B4-BE49-F238E27FC236}">
                <a16:creationId xmlns:a16="http://schemas.microsoft.com/office/drawing/2014/main" id="{A8F2504F-652C-D4B3-CCB2-0D520D12CD37}"/>
              </a:ext>
            </a:extLst>
          </p:cNvPr>
          <p:cNvSpPr>
            <a:spLocks noGrp="1"/>
          </p:cNvSpPr>
          <p:nvPr>
            <p:ph type="body" sz="quarter" idx="13" hasCustomPrompt="1"/>
          </p:nvPr>
        </p:nvSpPr>
        <p:spPr>
          <a:xfrm>
            <a:off x="695325" y="815466"/>
            <a:ext cx="3973652" cy="350838"/>
          </a:xfrm>
        </p:spPr>
        <p:txBody>
          <a:bodyPr>
            <a:noAutofit/>
          </a:bodyPr>
          <a:lstStyle>
            <a:lvl1pPr marL="0" indent="0">
              <a:buNone/>
              <a:defRPr sz="2400">
                <a:solidFill>
                  <a:schemeClr val="bg1"/>
                </a:solidFill>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
        <p:nvSpPr>
          <p:cNvPr id="69" name="Inhaltsplatzhalter 2">
            <a:extLst>
              <a:ext uri="{FF2B5EF4-FFF2-40B4-BE49-F238E27FC236}">
                <a16:creationId xmlns:a16="http://schemas.microsoft.com/office/drawing/2014/main" id="{CC7C7637-E6BD-D078-604D-4F2FFF33B87E}"/>
              </a:ext>
            </a:extLst>
          </p:cNvPr>
          <p:cNvSpPr>
            <a:spLocks noGrp="1"/>
          </p:cNvSpPr>
          <p:nvPr>
            <p:ph idx="1" hasCustomPrompt="1"/>
          </p:nvPr>
        </p:nvSpPr>
        <p:spPr>
          <a:xfrm>
            <a:off x="695325" y="1628775"/>
            <a:ext cx="3973494" cy="2079625"/>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70" name="Inhaltsplatzhalter 2">
            <a:extLst>
              <a:ext uri="{FF2B5EF4-FFF2-40B4-BE49-F238E27FC236}">
                <a16:creationId xmlns:a16="http://schemas.microsoft.com/office/drawing/2014/main" id="{6C8D42EA-46C6-E0C6-8B33-A0EB00E49C3B}"/>
              </a:ext>
            </a:extLst>
          </p:cNvPr>
          <p:cNvSpPr>
            <a:spLocks noGrp="1"/>
          </p:cNvSpPr>
          <p:nvPr>
            <p:ph idx="14" hasCustomPrompt="1"/>
          </p:nvPr>
        </p:nvSpPr>
        <p:spPr>
          <a:xfrm>
            <a:off x="6527799" y="1628775"/>
            <a:ext cx="4966493" cy="460851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71" name="Fußzeilenplatzhalter 70">
            <a:extLst>
              <a:ext uri="{FF2B5EF4-FFF2-40B4-BE49-F238E27FC236}">
                <a16:creationId xmlns:a16="http://schemas.microsoft.com/office/drawing/2014/main" id="{BBE6D205-A0A1-2B93-3D00-8BF192968312}"/>
              </a:ext>
            </a:extLst>
          </p:cNvPr>
          <p:cNvSpPr>
            <a:spLocks noGrp="1"/>
          </p:cNvSpPr>
          <p:nvPr>
            <p:ph type="ftr" sz="quarter" idx="15"/>
          </p:nvPr>
        </p:nvSpPr>
        <p:spPr>
          <a:xfrm>
            <a:off x="695325" y="6561220"/>
            <a:ext cx="1882775" cy="184666"/>
          </a:xfrm>
        </p:spPr>
        <p:txBody>
          <a:bodyPr/>
          <a:lstStyle>
            <a:lvl1pPr>
              <a:defRPr>
                <a:solidFill>
                  <a:schemeClr val="bg1"/>
                </a:solidFill>
              </a:defRPr>
            </a:lvl1pPr>
          </a:lstStyle>
          <a:p>
            <a:r>
              <a:rPr lang="en-US" dirty="0"/>
              <a:t>Footer</a:t>
            </a:r>
          </a:p>
        </p:txBody>
      </p:sp>
    </p:spTree>
    <p:extLst>
      <p:ext uri="{BB962C8B-B14F-4D97-AF65-F5344CB8AC3E}">
        <p14:creationId xmlns:p14="http://schemas.microsoft.com/office/powerpoint/2010/main" val="864543406"/>
      </p:ext>
    </p:extLst>
  </p:cSld>
  <p:clrMapOvr>
    <a:masterClrMapping/>
  </p:clrMapOvr>
  <p:extLst>
    <p:ext uri="{DCECCB84-F9BA-43D5-87BE-67443E8EF086}">
      <p15:sldGuideLst xmlns:p15="http://schemas.microsoft.com/office/powerpoint/2012/main">
        <p15:guide id="1" pos="3840" userDrawn="1">
          <p15:clr>
            <a:srgbClr val="FBAE40"/>
          </p15:clr>
        </p15:guide>
        <p15:guide id="2" pos="4112"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adient &amp; content 2">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3539857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Freihandform: Form 2">
            <a:extLst>
              <a:ext uri="{FF2B5EF4-FFF2-40B4-BE49-F238E27FC236}">
                <a16:creationId xmlns:a16="http://schemas.microsoft.com/office/drawing/2014/main" id="{FF0E11F7-669A-48F2-38EE-771CAD614C11}"/>
              </a:ext>
            </a:extLst>
          </p:cNvPr>
          <p:cNvSpPr/>
          <p:nvPr userDrawn="1"/>
        </p:nvSpPr>
        <p:spPr>
          <a:xfrm>
            <a:off x="1" y="2"/>
            <a:ext cx="5267525" cy="6857999"/>
          </a:xfrm>
          <a:custGeom>
            <a:avLst/>
            <a:gdLst>
              <a:gd name="connsiteX0" fmla="*/ 0 w 5267525"/>
              <a:gd name="connsiteY0" fmla="*/ 0 h 6857999"/>
              <a:gd name="connsiteX1" fmla="*/ 5267525 w 5267525"/>
              <a:gd name="connsiteY1" fmla="*/ 0 h 6857999"/>
              <a:gd name="connsiteX2" fmla="*/ 5267525 w 5267525"/>
              <a:gd name="connsiteY2" fmla="*/ 3429000 h 6857999"/>
              <a:gd name="connsiteX3" fmla="*/ 5267525 w 5267525"/>
              <a:gd name="connsiteY3" fmla="*/ 4307861 h 6857999"/>
              <a:gd name="connsiteX4" fmla="*/ 3398911 w 5267525"/>
              <a:gd name="connsiteY4" fmla="*/ 6857999 h 6857999"/>
              <a:gd name="connsiteX5" fmla="*/ 0 w 5267525"/>
              <a:gd name="connsiteY5"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67525" h="6857999">
                <a:moveTo>
                  <a:pt x="0" y="0"/>
                </a:moveTo>
                <a:lnTo>
                  <a:pt x="5267525" y="0"/>
                </a:lnTo>
                <a:lnTo>
                  <a:pt x="5267525" y="3429000"/>
                </a:lnTo>
                <a:lnTo>
                  <a:pt x="5267525" y="4307861"/>
                </a:lnTo>
                <a:lnTo>
                  <a:pt x="3398911" y="6857999"/>
                </a:lnTo>
                <a:lnTo>
                  <a:pt x="0" y="6857999"/>
                </a:lnTo>
                <a:close/>
              </a:path>
            </a:pathLst>
          </a:custGeom>
          <a:gradFill>
            <a:gsLst>
              <a:gs pos="11000">
                <a:schemeClr val="accent1"/>
              </a:gs>
              <a:gs pos="100000">
                <a:schemeClr val="accent3"/>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schemeClr val="lt1"/>
              </a:solidFill>
            </a:endParaRPr>
          </a:p>
        </p:txBody>
      </p:sp>
      <p:grpSp>
        <p:nvGrpSpPr>
          <p:cNvPr id="7" name="Gruppieren 6">
            <a:extLst>
              <a:ext uri="{FF2B5EF4-FFF2-40B4-BE49-F238E27FC236}">
                <a16:creationId xmlns:a16="http://schemas.microsoft.com/office/drawing/2014/main" id="{95E6AD5D-7221-E3C6-DEDD-7632BB58CE18}"/>
              </a:ext>
            </a:extLst>
          </p:cNvPr>
          <p:cNvGrpSpPr/>
          <p:nvPr userDrawn="1"/>
        </p:nvGrpSpPr>
        <p:grpSpPr>
          <a:xfrm>
            <a:off x="9938597" y="441325"/>
            <a:ext cx="1558078" cy="295275"/>
            <a:chOff x="9938597" y="441325"/>
            <a:chExt cx="1558078" cy="295275"/>
          </a:xfrm>
        </p:grpSpPr>
        <p:sp>
          <p:nvSpPr>
            <p:cNvPr id="9" name="Freeform: Shape 10">
              <a:extLst>
                <a:ext uri="{FF2B5EF4-FFF2-40B4-BE49-F238E27FC236}">
                  <a16:creationId xmlns:a16="http://schemas.microsoft.com/office/drawing/2014/main" id="{9C4AB1CA-9EDA-8DD1-E1E4-3BC75A6E6AB7}"/>
                </a:ext>
              </a:extLst>
            </p:cNvPr>
            <p:cNvSpPr/>
            <p:nvPr/>
          </p:nvSpPr>
          <p:spPr>
            <a:xfrm>
              <a:off x="9938597" y="441325"/>
              <a:ext cx="77518" cy="289100"/>
            </a:xfrm>
            <a:custGeom>
              <a:avLst/>
              <a:gdLst>
                <a:gd name="connsiteX0" fmla="*/ 92671 w 92670"/>
                <a:gd name="connsiteY0" fmla="*/ 0 h 338478"/>
                <a:gd name="connsiteX1" fmla="*/ 0 w 92670"/>
                <a:gd name="connsiteY1" fmla="*/ 0 h 338478"/>
                <a:gd name="connsiteX2" fmla="*/ 0 w 92670"/>
                <a:gd name="connsiteY2" fmla="*/ 338478 h 338478"/>
                <a:gd name="connsiteX3" fmla="*/ 92671 w 92670"/>
                <a:gd name="connsiteY3" fmla="*/ 217546 h 338478"/>
              </a:gdLst>
              <a:ahLst/>
              <a:cxnLst>
                <a:cxn ang="0">
                  <a:pos x="connsiteX0" y="connsiteY0"/>
                </a:cxn>
                <a:cxn ang="0">
                  <a:pos x="connsiteX1" y="connsiteY1"/>
                </a:cxn>
                <a:cxn ang="0">
                  <a:pos x="connsiteX2" y="connsiteY2"/>
                </a:cxn>
                <a:cxn ang="0">
                  <a:pos x="connsiteX3" y="connsiteY3"/>
                </a:cxn>
              </a:cxnLst>
              <a:rect l="l" t="t" r="r" b="b"/>
              <a:pathLst>
                <a:path w="92670" h="338478">
                  <a:moveTo>
                    <a:pt x="92671" y="0"/>
                  </a:moveTo>
                  <a:lnTo>
                    <a:pt x="0" y="0"/>
                  </a:lnTo>
                  <a:lnTo>
                    <a:pt x="0" y="338478"/>
                  </a:lnTo>
                  <a:lnTo>
                    <a:pt x="92671" y="217546"/>
                  </a:lnTo>
                  <a:close/>
                </a:path>
              </a:pathLst>
            </a:custGeom>
            <a:solidFill>
              <a:schemeClr val="accent3"/>
            </a:solidFill>
            <a:ln w="6540" cap="flat">
              <a:noFill/>
              <a:prstDash val="solid"/>
              <a:miter/>
            </a:ln>
          </p:spPr>
          <p:txBody>
            <a:bodyPr rtlCol="0" anchor="ctr"/>
            <a:lstStyle/>
            <a:p>
              <a:endParaRPr lang="en-GB"/>
            </a:p>
          </p:txBody>
        </p:sp>
        <p:sp>
          <p:nvSpPr>
            <p:cNvPr id="10" name="Freeform: Shape 11">
              <a:extLst>
                <a:ext uri="{FF2B5EF4-FFF2-40B4-BE49-F238E27FC236}">
                  <a16:creationId xmlns:a16="http://schemas.microsoft.com/office/drawing/2014/main" id="{A6C3246B-613A-02A5-6E13-F2EB67F70B94}"/>
                </a:ext>
              </a:extLst>
            </p:cNvPr>
            <p:cNvSpPr/>
            <p:nvPr/>
          </p:nvSpPr>
          <p:spPr>
            <a:xfrm>
              <a:off x="10016115" y="441325"/>
              <a:ext cx="1480560" cy="295275"/>
            </a:xfrm>
            <a:custGeom>
              <a:avLst/>
              <a:gdLst>
                <a:gd name="connsiteX0" fmla="*/ 196515 w 1769954"/>
                <a:gd name="connsiteY0" fmla="*/ 92671 h 345708"/>
                <a:gd name="connsiteX1" fmla="*/ 99243 w 1769954"/>
                <a:gd name="connsiteY1" fmla="*/ 217546 h 345708"/>
                <a:gd name="connsiteX2" fmla="*/ 194543 w 1769954"/>
                <a:gd name="connsiteY2" fmla="*/ 338478 h 345708"/>
                <a:gd name="connsiteX3" fmla="*/ 84784 w 1769954"/>
                <a:gd name="connsiteY3" fmla="*/ 338478 h 345708"/>
                <a:gd name="connsiteX4" fmla="*/ 0 w 1769954"/>
                <a:gd name="connsiteY4" fmla="*/ 217546 h 345708"/>
                <a:gd name="connsiteX5" fmla="*/ 95300 w 1769954"/>
                <a:gd name="connsiteY5" fmla="*/ 93328 h 345708"/>
                <a:gd name="connsiteX6" fmla="*/ 196515 w 1769954"/>
                <a:gd name="connsiteY6" fmla="*/ 92671 h 345708"/>
                <a:gd name="connsiteX7" fmla="*/ 338478 w 1769954"/>
                <a:gd name="connsiteY7" fmla="*/ 85441 h 345708"/>
                <a:gd name="connsiteX8" fmla="*/ 195857 w 1769954"/>
                <a:gd name="connsiteY8" fmla="*/ 215575 h 345708"/>
                <a:gd name="connsiteX9" fmla="*/ 338478 w 1769954"/>
                <a:gd name="connsiteY9" fmla="*/ 345708 h 345708"/>
                <a:gd name="connsiteX10" fmla="*/ 481100 w 1769954"/>
                <a:gd name="connsiteY10" fmla="*/ 215575 h 345708"/>
                <a:gd name="connsiteX11" fmla="*/ 338478 w 1769954"/>
                <a:gd name="connsiteY11" fmla="*/ 85441 h 345708"/>
                <a:gd name="connsiteX12" fmla="*/ 291157 w 1769954"/>
                <a:gd name="connsiteY12" fmla="*/ 215575 h 345708"/>
                <a:gd name="connsiteX13" fmla="*/ 338478 w 1769954"/>
                <a:gd name="connsiteY13" fmla="*/ 139335 h 345708"/>
                <a:gd name="connsiteX14" fmla="*/ 385800 w 1769954"/>
                <a:gd name="connsiteY14" fmla="*/ 215575 h 345708"/>
                <a:gd name="connsiteX15" fmla="*/ 338478 w 1769954"/>
                <a:gd name="connsiteY15" fmla="*/ 291814 h 345708"/>
                <a:gd name="connsiteX16" fmla="*/ 291157 w 1769954"/>
                <a:gd name="connsiteY16" fmla="*/ 215575 h 345708"/>
                <a:gd name="connsiteX17" fmla="*/ 683529 w 1769954"/>
                <a:gd name="connsiteY17" fmla="*/ 85441 h 345708"/>
                <a:gd name="connsiteX18" fmla="*/ 606632 w 1769954"/>
                <a:gd name="connsiteY18" fmla="*/ 119618 h 345708"/>
                <a:gd name="connsiteX19" fmla="*/ 605318 w 1769954"/>
                <a:gd name="connsiteY19" fmla="*/ 92671 h 345708"/>
                <a:gd name="connsiteX20" fmla="*/ 513962 w 1769954"/>
                <a:gd name="connsiteY20" fmla="*/ 92671 h 345708"/>
                <a:gd name="connsiteX21" fmla="*/ 513962 w 1769954"/>
                <a:gd name="connsiteY21" fmla="*/ 337821 h 345708"/>
                <a:gd name="connsiteX22" fmla="*/ 606632 w 1769954"/>
                <a:gd name="connsiteY22" fmla="*/ 337821 h 345708"/>
                <a:gd name="connsiteX23" fmla="*/ 606632 w 1769954"/>
                <a:gd name="connsiteY23" fmla="*/ 197172 h 345708"/>
                <a:gd name="connsiteX24" fmla="*/ 646724 w 1769954"/>
                <a:gd name="connsiteY24" fmla="*/ 143935 h 345708"/>
                <a:gd name="connsiteX25" fmla="*/ 682215 w 1769954"/>
                <a:gd name="connsiteY25" fmla="*/ 193886 h 345708"/>
                <a:gd name="connsiteX26" fmla="*/ 682215 w 1769954"/>
                <a:gd name="connsiteY26" fmla="*/ 337821 h 345708"/>
                <a:gd name="connsiteX27" fmla="*/ 774886 w 1769954"/>
                <a:gd name="connsiteY27" fmla="*/ 337821 h 345708"/>
                <a:gd name="connsiteX28" fmla="*/ 774886 w 1769954"/>
                <a:gd name="connsiteY28" fmla="*/ 173511 h 345708"/>
                <a:gd name="connsiteX29" fmla="*/ 683529 w 1769954"/>
                <a:gd name="connsiteY29" fmla="*/ 85441 h 345708"/>
                <a:gd name="connsiteX30" fmla="*/ 815635 w 1769954"/>
                <a:gd name="connsiteY30" fmla="*/ 260924 h 345708"/>
                <a:gd name="connsiteX31" fmla="*/ 912249 w 1769954"/>
                <a:gd name="connsiteY31" fmla="*/ 345051 h 345708"/>
                <a:gd name="connsiteX32" fmla="*/ 962199 w 1769954"/>
                <a:gd name="connsiteY32" fmla="*/ 340450 h 345708"/>
                <a:gd name="connsiteX33" fmla="*/ 962199 w 1769954"/>
                <a:gd name="connsiteY33" fmla="*/ 285242 h 345708"/>
                <a:gd name="connsiteX34" fmla="*/ 926708 w 1769954"/>
                <a:gd name="connsiteY34" fmla="*/ 286556 h 345708"/>
                <a:gd name="connsiteX35" fmla="*/ 908963 w 1769954"/>
                <a:gd name="connsiteY35" fmla="*/ 248437 h 345708"/>
                <a:gd name="connsiteX36" fmla="*/ 908963 w 1769954"/>
                <a:gd name="connsiteY36" fmla="*/ 151165 h 345708"/>
                <a:gd name="connsiteX37" fmla="*/ 962856 w 1769954"/>
                <a:gd name="connsiteY37" fmla="*/ 151165 h 345708"/>
                <a:gd name="connsiteX38" fmla="*/ 962856 w 1769954"/>
                <a:gd name="connsiteY38" fmla="*/ 93328 h 345708"/>
                <a:gd name="connsiteX39" fmla="*/ 908963 w 1769954"/>
                <a:gd name="connsiteY39" fmla="*/ 93328 h 345708"/>
                <a:gd name="connsiteX40" fmla="*/ 908963 w 1769954"/>
                <a:gd name="connsiteY40" fmla="*/ 0 h 345708"/>
                <a:gd name="connsiteX41" fmla="*/ 816292 w 1769954"/>
                <a:gd name="connsiteY41" fmla="*/ 120932 h 345708"/>
                <a:gd name="connsiteX42" fmla="*/ 815635 w 1769954"/>
                <a:gd name="connsiteY42" fmla="*/ 260924 h 345708"/>
                <a:gd name="connsiteX43" fmla="*/ 1097591 w 1769954"/>
                <a:gd name="connsiteY43" fmla="*/ 92671 h 345708"/>
                <a:gd name="connsiteX44" fmla="*/ 1006234 w 1769954"/>
                <a:gd name="connsiteY44" fmla="*/ 92671 h 345708"/>
                <a:gd name="connsiteX45" fmla="*/ 1006234 w 1769954"/>
                <a:gd name="connsiteY45" fmla="*/ 337821 h 345708"/>
                <a:gd name="connsiteX46" fmla="*/ 1098905 w 1769954"/>
                <a:gd name="connsiteY46" fmla="*/ 337821 h 345708"/>
                <a:gd name="connsiteX47" fmla="*/ 1098905 w 1769954"/>
                <a:gd name="connsiteY47" fmla="*/ 239235 h 345708"/>
                <a:gd name="connsiteX48" fmla="*/ 1162657 w 1769954"/>
                <a:gd name="connsiteY48" fmla="*/ 162995 h 345708"/>
                <a:gd name="connsiteX49" fmla="*/ 1182374 w 1769954"/>
                <a:gd name="connsiteY49" fmla="*/ 163653 h 345708"/>
                <a:gd name="connsiteX50" fmla="*/ 1182374 w 1769954"/>
                <a:gd name="connsiteY50" fmla="*/ 85441 h 345708"/>
                <a:gd name="connsiteX51" fmla="*/ 1100219 w 1769954"/>
                <a:gd name="connsiteY51" fmla="*/ 138678 h 345708"/>
                <a:gd name="connsiteX52" fmla="*/ 1099562 w 1769954"/>
                <a:gd name="connsiteY52" fmla="*/ 138678 h 345708"/>
                <a:gd name="connsiteX53" fmla="*/ 1097591 w 1769954"/>
                <a:gd name="connsiteY53" fmla="*/ 92671 h 345708"/>
                <a:gd name="connsiteX54" fmla="*/ 1338140 w 1769954"/>
                <a:gd name="connsiteY54" fmla="*/ 85441 h 345708"/>
                <a:gd name="connsiteX55" fmla="*/ 1195519 w 1769954"/>
                <a:gd name="connsiteY55" fmla="*/ 215575 h 345708"/>
                <a:gd name="connsiteX56" fmla="*/ 1338140 w 1769954"/>
                <a:gd name="connsiteY56" fmla="*/ 345708 h 345708"/>
                <a:gd name="connsiteX57" fmla="*/ 1480761 w 1769954"/>
                <a:gd name="connsiteY57" fmla="*/ 215575 h 345708"/>
                <a:gd name="connsiteX58" fmla="*/ 1338140 w 1769954"/>
                <a:gd name="connsiteY58" fmla="*/ 85441 h 345708"/>
                <a:gd name="connsiteX59" fmla="*/ 1290819 w 1769954"/>
                <a:gd name="connsiteY59" fmla="*/ 215575 h 345708"/>
                <a:gd name="connsiteX60" fmla="*/ 1338140 w 1769954"/>
                <a:gd name="connsiteY60" fmla="*/ 139335 h 345708"/>
                <a:gd name="connsiteX61" fmla="*/ 1385461 w 1769954"/>
                <a:gd name="connsiteY61" fmla="*/ 215575 h 345708"/>
                <a:gd name="connsiteX62" fmla="*/ 1338140 w 1769954"/>
                <a:gd name="connsiteY62" fmla="*/ 291814 h 345708"/>
                <a:gd name="connsiteX63" fmla="*/ 1290819 w 1769954"/>
                <a:gd name="connsiteY63" fmla="*/ 215575 h 345708"/>
                <a:gd name="connsiteX64" fmla="*/ 1678590 w 1769954"/>
                <a:gd name="connsiteY64" fmla="*/ 85441 h 345708"/>
                <a:gd name="connsiteX65" fmla="*/ 1601693 w 1769954"/>
                <a:gd name="connsiteY65" fmla="*/ 119618 h 345708"/>
                <a:gd name="connsiteX66" fmla="*/ 1600379 w 1769954"/>
                <a:gd name="connsiteY66" fmla="*/ 92671 h 345708"/>
                <a:gd name="connsiteX67" fmla="*/ 1509023 w 1769954"/>
                <a:gd name="connsiteY67" fmla="*/ 92671 h 345708"/>
                <a:gd name="connsiteX68" fmla="*/ 1509023 w 1769954"/>
                <a:gd name="connsiteY68" fmla="*/ 337821 h 345708"/>
                <a:gd name="connsiteX69" fmla="*/ 1601693 w 1769954"/>
                <a:gd name="connsiteY69" fmla="*/ 337821 h 345708"/>
                <a:gd name="connsiteX70" fmla="*/ 1601693 w 1769954"/>
                <a:gd name="connsiteY70" fmla="*/ 197829 h 345708"/>
                <a:gd name="connsiteX71" fmla="*/ 1641785 w 1769954"/>
                <a:gd name="connsiteY71" fmla="*/ 144593 h 345708"/>
                <a:gd name="connsiteX72" fmla="*/ 1677276 w 1769954"/>
                <a:gd name="connsiteY72" fmla="*/ 194543 h 345708"/>
                <a:gd name="connsiteX73" fmla="*/ 1677276 w 1769954"/>
                <a:gd name="connsiteY73" fmla="*/ 338478 h 345708"/>
                <a:gd name="connsiteX74" fmla="*/ 1769947 w 1769954"/>
                <a:gd name="connsiteY74" fmla="*/ 338478 h 345708"/>
                <a:gd name="connsiteX75" fmla="*/ 1769947 w 1769954"/>
                <a:gd name="connsiteY75" fmla="*/ 174169 h 345708"/>
                <a:gd name="connsiteX76" fmla="*/ 1678590 w 1769954"/>
                <a:gd name="connsiteY76" fmla="*/ 85441 h 34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69954" h="345708">
                  <a:moveTo>
                    <a:pt x="196515" y="92671"/>
                  </a:moveTo>
                  <a:lnTo>
                    <a:pt x="99243" y="217546"/>
                  </a:lnTo>
                  <a:lnTo>
                    <a:pt x="194543" y="338478"/>
                  </a:lnTo>
                  <a:lnTo>
                    <a:pt x="84784" y="338478"/>
                  </a:lnTo>
                  <a:lnTo>
                    <a:pt x="0" y="217546"/>
                  </a:lnTo>
                  <a:lnTo>
                    <a:pt x="95300" y="93328"/>
                  </a:lnTo>
                  <a:lnTo>
                    <a:pt x="196515" y="92671"/>
                  </a:lnTo>
                  <a:close/>
                  <a:moveTo>
                    <a:pt x="338478" y="85441"/>
                  </a:moveTo>
                  <a:cubicBezTo>
                    <a:pt x="261581" y="85441"/>
                    <a:pt x="195857" y="124876"/>
                    <a:pt x="195857" y="215575"/>
                  </a:cubicBezTo>
                  <a:cubicBezTo>
                    <a:pt x="195857" y="306274"/>
                    <a:pt x="261581" y="345708"/>
                    <a:pt x="338478" y="345708"/>
                  </a:cubicBezTo>
                  <a:cubicBezTo>
                    <a:pt x="415376" y="345708"/>
                    <a:pt x="481100" y="306274"/>
                    <a:pt x="481100" y="215575"/>
                  </a:cubicBezTo>
                  <a:cubicBezTo>
                    <a:pt x="481757" y="125533"/>
                    <a:pt x="415376" y="85441"/>
                    <a:pt x="338478" y="85441"/>
                  </a:cubicBezTo>
                  <a:close/>
                  <a:moveTo>
                    <a:pt x="291157" y="215575"/>
                  </a:moveTo>
                  <a:cubicBezTo>
                    <a:pt x="291157" y="180741"/>
                    <a:pt x="299701" y="139335"/>
                    <a:pt x="338478" y="139335"/>
                  </a:cubicBezTo>
                  <a:cubicBezTo>
                    <a:pt x="377256" y="139335"/>
                    <a:pt x="385800" y="180741"/>
                    <a:pt x="385800" y="215575"/>
                  </a:cubicBezTo>
                  <a:cubicBezTo>
                    <a:pt x="385800" y="250408"/>
                    <a:pt x="377256" y="291814"/>
                    <a:pt x="338478" y="291814"/>
                  </a:cubicBezTo>
                  <a:cubicBezTo>
                    <a:pt x="299701" y="291814"/>
                    <a:pt x="291157" y="250408"/>
                    <a:pt x="291157" y="215575"/>
                  </a:cubicBezTo>
                  <a:close/>
                  <a:moveTo>
                    <a:pt x="683529" y="85441"/>
                  </a:moveTo>
                  <a:cubicBezTo>
                    <a:pt x="651982" y="85441"/>
                    <a:pt x="627664" y="95300"/>
                    <a:pt x="606632" y="119618"/>
                  </a:cubicBezTo>
                  <a:lnTo>
                    <a:pt x="605318" y="92671"/>
                  </a:lnTo>
                  <a:lnTo>
                    <a:pt x="513962" y="92671"/>
                  </a:lnTo>
                  <a:lnTo>
                    <a:pt x="513962" y="337821"/>
                  </a:lnTo>
                  <a:lnTo>
                    <a:pt x="606632" y="337821"/>
                  </a:lnTo>
                  <a:lnTo>
                    <a:pt x="606632" y="197172"/>
                  </a:lnTo>
                  <a:cubicBezTo>
                    <a:pt x="606632" y="194543"/>
                    <a:pt x="600717" y="143935"/>
                    <a:pt x="646724" y="143935"/>
                  </a:cubicBezTo>
                  <a:cubicBezTo>
                    <a:pt x="675643" y="143935"/>
                    <a:pt x="681558" y="169568"/>
                    <a:pt x="682215" y="193886"/>
                  </a:cubicBezTo>
                  <a:lnTo>
                    <a:pt x="682215" y="337821"/>
                  </a:lnTo>
                  <a:lnTo>
                    <a:pt x="774886" y="337821"/>
                  </a:lnTo>
                  <a:lnTo>
                    <a:pt x="774886" y="173511"/>
                  </a:lnTo>
                  <a:cubicBezTo>
                    <a:pt x="774886" y="119618"/>
                    <a:pt x="736109" y="85441"/>
                    <a:pt x="683529" y="85441"/>
                  </a:cubicBezTo>
                  <a:close/>
                  <a:moveTo>
                    <a:pt x="815635" y="260924"/>
                  </a:moveTo>
                  <a:cubicBezTo>
                    <a:pt x="811034" y="336507"/>
                    <a:pt x="849154" y="345051"/>
                    <a:pt x="912249" y="345051"/>
                  </a:cubicBezTo>
                  <a:cubicBezTo>
                    <a:pt x="926051" y="345051"/>
                    <a:pt x="941167" y="344394"/>
                    <a:pt x="962199" y="340450"/>
                  </a:cubicBezTo>
                  <a:lnTo>
                    <a:pt x="962199" y="285242"/>
                  </a:lnTo>
                  <a:cubicBezTo>
                    <a:pt x="951683" y="286556"/>
                    <a:pt x="938538" y="286556"/>
                    <a:pt x="926708" y="286556"/>
                  </a:cubicBezTo>
                  <a:cubicBezTo>
                    <a:pt x="905019" y="286556"/>
                    <a:pt x="908963" y="255009"/>
                    <a:pt x="908963" y="248437"/>
                  </a:cubicBezTo>
                  <a:lnTo>
                    <a:pt x="908963" y="151165"/>
                  </a:lnTo>
                  <a:lnTo>
                    <a:pt x="962856" y="151165"/>
                  </a:lnTo>
                  <a:lnTo>
                    <a:pt x="962856" y="93328"/>
                  </a:lnTo>
                  <a:lnTo>
                    <a:pt x="908963" y="93328"/>
                  </a:lnTo>
                  <a:lnTo>
                    <a:pt x="908963" y="0"/>
                  </a:lnTo>
                  <a:lnTo>
                    <a:pt x="816292" y="120932"/>
                  </a:lnTo>
                  <a:lnTo>
                    <a:pt x="815635" y="260924"/>
                  </a:lnTo>
                  <a:close/>
                  <a:moveTo>
                    <a:pt x="1097591" y="92671"/>
                  </a:moveTo>
                  <a:lnTo>
                    <a:pt x="1006234" y="92671"/>
                  </a:lnTo>
                  <a:lnTo>
                    <a:pt x="1006234" y="337821"/>
                  </a:lnTo>
                  <a:lnTo>
                    <a:pt x="1098905" y="337821"/>
                  </a:lnTo>
                  <a:lnTo>
                    <a:pt x="1098905" y="239235"/>
                  </a:lnTo>
                  <a:cubicBezTo>
                    <a:pt x="1097591" y="192571"/>
                    <a:pt x="1114022" y="163653"/>
                    <a:pt x="1162657" y="162995"/>
                  </a:cubicBezTo>
                  <a:cubicBezTo>
                    <a:pt x="1169230" y="162995"/>
                    <a:pt x="1175145" y="162995"/>
                    <a:pt x="1182374" y="163653"/>
                  </a:cubicBezTo>
                  <a:lnTo>
                    <a:pt x="1182374" y="85441"/>
                  </a:lnTo>
                  <a:cubicBezTo>
                    <a:pt x="1141626" y="84784"/>
                    <a:pt x="1110735" y="97929"/>
                    <a:pt x="1100219" y="138678"/>
                  </a:cubicBezTo>
                  <a:lnTo>
                    <a:pt x="1099562" y="138678"/>
                  </a:lnTo>
                  <a:lnTo>
                    <a:pt x="1097591" y="92671"/>
                  </a:lnTo>
                  <a:close/>
                  <a:moveTo>
                    <a:pt x="1338140" y="85441"/>
                  </a:moveTo>
                  <a:cubicBezTo>
                    <a:pt x="1261243" y="85441"/>
                    <a:pt x="1195519" y="124876"/>
                    <a:pt x="1195519" y="215575"/>
                  </a:cubicBezTo>
                  <a:cubicBezTo>
                    <a:pt x="1195519" y="306274"/>
                    <a:pt x="1261243" y="345708"/>
                    <a:pt x="1338140" y="345708"/>
                  </a:cubicBezTo>
                  <a:cubicBezTo>
                    <a:pt x="1415037" y="345708"/>
                    <a:pt x="1480761" y="306274"/>
                    <a:pt x="1480761" y="215575"/>
                  </a:cubicBezTo>
                  <a:cubicBezTo>
                    <a:pt x="1480761" y="124876"/>
                    <a:pt x="1414380" y="85441"/>
                    <a:pt x="1338140" y="85441"/>
                  </a:cubicBezTo>
                  <a:close/>
                  <a:moveTo>
                    <a:pt x="1290819" y="215575"/>
                  </a:moveTo>
                  <a:cubicBezTo>
                    <a:pt x="1290819" y="180741"/>
                    <a:pt x="1299363" y="139335"/>
                    <a:pt x="1338140" y="139335"/>
                  </a:cubicBezTo>
                  <a:cubicBezTo>
                    <a:pt x="1376917" y="139335"/>
                    <a:pt x="1385461" y="180741"/>
                    <a:pt x="1385461" y="215575"/>
                  </a:cubicBezTo>
                  <a:cubicBezTo>
                    <a:pt x="1385461" y="250408"/>
                    <a:pt x="1376917" y="291814"/>
                    <a:pt x="1338140" y="291814"/>
                  </a:cubicBezTo>
                  <a:cubicBezTo>
                    <a:pt x="1298706" y="291814"/>
                    <a:pt x="1290819" y="250408"/>
                    <a:pt x="1290819" y="215575"/>
                  </a:cubicBezTo>
                  <a:close/>
                  <a:moveTo>
                    <a:pt x="1678590" y="85441"/>
                  </a:moveTo>
                  <a:cubicBezTo>
                    <a:pt x="1647043" y="85441"/>
                    <a:pt x="1622725" y="95300"/>
                    <a:pt x="1601693" y="119618"/>
                  </a:cubicBezTo>
                  <a:lnTo>
                    <a:pt x="1600379" y="92671"/>
                  </a:lnTo>
                  <a:lnTo>
                    <a:pt x="1509023" y="92671"/>
                  </a:lnTo>
                  <a:lnTo>
                    <a:pt x="1509023" y="337821"/>
                  </a:lnTo>
                  <a:lnTo>
                    <a:pt x="1601693" y="337821"/>
                  </a:lnTo>
                  <a:lnTo>
                    <a:pt x="1601693" y="197829"/>
                  </a:lnTo>
                  <a:cubicBezTo>
                    <a:pt x="1601693" y="195200"/>
                    <a:pt x="1595778" y="144593"/>
                    <a:pt x="1641785" y="144593"/>
                  </a:cubicBezTo>
                  <a:cubicBezTo>
                    <a:pt x="1670704" y="144593"/>
                    <a:pt x="1676619" y="170225"/>
                    <a:pt x="1677276" y="194543"/>
                  </a:cubicBezTo>
                  <a:lnTo>
                    <a:pt x="1677276" y="338478"/>
                  </a:lnTo>
                  <a:lnTo>
                    <a:pt x="1769947" y="338478"/>
                  </a:lnTo>
                  <a:lnTo>
                    <a:pt x="1769947" y="174169"/>
                  </a:lnTo>
                  <a:cubicBezTo>
                    <a:pt x="1770604" y="119618"/>
                    <a:pt x="1731170" y="85441"/>
                    <a:pt x="1678590" y="85441"/>
                  </a:cubicBezTo>
                  <a:close/>
                </a:path>
              </a:pathLst>
            </a:custGeom>
            <a:solidFill>
              <a:schemeClr val="accent1"/>
            </a:solidFill>
            <a:ln w="6540" cap="flat">
              <a:noFill/>
              <a:prstDash val="solid"/>
              <a:miter/>
            </a:ln>
          </p:spPr>
          <p:txBody>
            <a:bodyPr rtlCol="0" anchor="ctr"/>
            <a:lstStyle/>
            <a:p>
              <a:endParaRPr lang="en-GB" dirty="0"/>
            </a:p>
          </p:txBody>
        </p:sp>
      </p:gr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27" name="Titel 26">
            <a:extLst>
              <a:ext uri="{FF2B5EF4-FFF2-40B4-BE49-F238E27FC236}">
                <a16:creationId xmlns:a16="http://schemas.microsoft.com/office/drawing/2014/main" id="{C13B8925-254E-71DF-C904-6A94BAA0B7FE}"/>
              </a:ext>
            </a:extLst>
          </p:cNvPr>
          <p:cNvSpPr>
            <a:spLocks noGrp="1"/>
          </p:cNvSpPr>
          <p:nvPr>
            <p:ph type="title" hasCustomPrompt="1"/>
          </p:nvPr>
        </p:nvSpPr>
        <p:spPr>
          <a:xfrm>
            <a:off x="695325" y="372268"/>
            <a:ext cx="3973494" cy="443198"/>
          </a:xfrm>
        </p:spPr>
        <p:txBody>
          <a:bodyPr vert="horz"/>
          <a:lstStyle>
            <a:lvl1pPr>
              <a:defRPr>
                <a:solidFill>
                  <a:schemeClr val="bg1"/>
                </a:solidFill>
              </a:defRPr>
            </a:lvl1pPr>
          </a:lstStyle>
          <a:p>
            <a:r>
              <a:rPr lang="de-DE" dirty="0"/>
              <a:t>Title, Calibri </a:t>
            </a:r>
            <a:r>
              <a:rPr lang="de-DE" dirty="0" err="1"/>
              <a:t>Bold</a:t>
            </a:r>
            <a:r>
              <a:rPr lang="de-DE" dirty="0"/>
              <a:t>, 32pt</a:t>
            </a:r>
            <a:endParaRPr lang="en-US" dirty="0"/>
          </a:p>
        </p:txBody>
      </p:sp>
      <p:sp>
        <p:nvSpPr>
          <p:cNvPr id="28" name="Textplatzhalter 7">
            <a:extLst>
              <a:ext uri="{FF2B5EF4-FFF2-40B4-BE49-F238E27FC236}">
                <a16:creationId xmlns:a16="http://schemas.microsoft.com/office/drawing/2014/main" id="{A8F2504F-652C-D4B3-CCB2-0D520D12CD37}"/>
              </a:ext>
            </a:extLst>
          </p:cNvPr>
          <p:cNvSpPr>
            <a:spLocks noGrp="1"/>
          </p:cNvSpPr>
          <p:nvPr>
            <p:ph type="body" sz="quarter" idx="13" hasCustomPrompt="1"/>
          </p:nvPr>
        </p:nvSpPr>
        <p:spPr>
          <a:xfrm>
            <a:off x="695325" y="815466"/>
            <a:ext cx="3973652" cy="350838"/>
          </a:xfrm>
        </p:spPr>
        <p:txBody>
          <a:bodyPr>
            <a:noAutofit/>
          </a:bodyPr>
          <a:lstStyle>
            <a:lvl1pPr marL="0" indent="0">
              <a:buNone/>
              <a:defRPr sz="2400">
                <a:solidFill>
                  <a:schemeClr val="bg1"/>
                </a:solidFill>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
        <p:nvSpPr>
          <p:cNvPr id="69" name="Inhaltsplatzhalter 2">
            <a:extLst>
              <a:ext uri="{FF2B5EF4-FFF2-40B4-BE49-F238E27FC236}">
                <a16:creationId xmlns:a16="http://schemas.microsoft.com/office/drawing/2014/main" id="{CC7C7637-E6BD-D078-604D-4F2FFF33B87E}"/>
              </a:ext>
            </a:extLst>
          </p:cNvPr>
          <p:cNvSpPr>
            <a:spLocks noGrp="1"/>
          </p:cNvSpPr>
          <p:nvPr>
            <p:ph idx="1" hasCustomPrompt="1"/>
          </p:nvPr>
        </p:nvSpPr>
        <p:spPr>
          <a:xfrm>
            <a:off x="695325" y="1628775"/>
            <a:ext cx="3973494" cy="297549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70" name="Inhaltsplatzhalter 2">
            <a:extLst>
              <a:ext uri="{FF2B5EF4-FFF2-40B4-BE49-F238E27FC236}">
                <a16:creationId xmlns:a16="http://schemas.microsoft.com/office/drawing/2014/main" id="{6C8D42EA-46C6-E0C6-8B33-A0EB00E49C3B}"/>
              </a:ext>
            </a:extLst>
          </p:cNvPr>
          <p:cNvSpPr>
            <a:spLocks noGrp="1"/>
          </p:cNvSpPr>
          <p:nvPr>
            <p:ph idx="14" hasCustomPrompt="1"/>
          </p:nvPr>
        </p:nvSpPr>
        <p:spPr>
          <a:xfrm>
            <a:off x="5700713" y="1628775"/>
            <a:ext cx="5793579" cy="460851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2" name="Fußzeilenplatzhalter 1">
            <a:extLst>
              <a:ext uri="{FF2B5EF4-FFF2-40B4-BE49-F238E27FC236}">
                <a16:creationId xmlns:a16="http://schemas.microsoft.com/office/drawing/2014/main" id="{FF18CE59-F5B8-932D-9CA0-2DFEE9B19A95}"/>
              </a:ext>
            </a:extLst>
          </p:cNvPr>
          <p:cNvSpPr>
            <a:spLocks noGrp="1"/>
          </p:cNvSpPr>
          <p:nvPr>
            <p:ph type="ftr" sz="quarter" idx="15"/>
          </p:nvPr>
        </p:nvSpPr>
        <p:spPr>
          <a:xfrm>
            <a:off x="695326" y="6561220"/>
            <a:ext cx="2476500" cy="184666"/>
          </a:xfrm>
        </p:spPr>
        <p:txBody>
          <a:bodyPr/>
          <a:lstStyle>
            <a:lvl1pPr>
              <a:defRPr>
                <a:solidFill>
                  <a:schemeClr val="bg1"/>
                </a:solidFill>
              </a:defRPr>
            </a:lvl1pPr>
          </a:lstStyle>
          <a:p>
            <a:r>
              <a:rPr lang="en-US"/>
              <a:t>Footer</a:t>
            </a:r>
            <a:endParaRPr lang="en-US" dirty="0"/>
          </a:p>
        </p:txBody>
      </p:sp>
    </p:spTree>
    <p:extLst>
      <p:ext uri="{BB962C8B-B14F-4D97-AF65-F5344CB8AC3E}">
        <p14:creationId xmlns:p14="http://schemas.microsoft.com/office/powerpoint/2010/main" val="4278781911"/>
      </p:ext>
    </p:extLst>
  </p:cSld>
  <p:clrMapOvr>
    <a:masterClrMapping/>
  </p:clrMapOvr>
  <p:extLst>
    <p:ext uri="{DCECCB84-F9BA-43D5-87BE-67443E8EF086}">
      <p15:sldGuideLst xmlns:p15="http://schemas.microsoft.com/office/powerpoint/2012/main">
        <p15:guide id="1" pos="3318" userDrawn="1">
          <p15:clr>
            <a:srgbClr val="FBAE40"/>
          </p15:clr>
        </p15:guide>
        <p15:guide id="2" pos="3591"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mp; content">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2218340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dirty="0"/>
          </a:p>
        </p:txBody>
      </p:sp>
      <p:sp>
        <p:nvSpPr>
          <p:cNvPr id="11" name="Bildplatzhalter 10">
            <a:extLst>
              <a:ext uri="{FF2B5EF4-FFF2-40B4-BE49-F238E27FC236}">
                <a16:creationId xmlns:a16="http://schemas.microsoft.com/office/drawing/2014/main" id="{21BA48A4-0CC2-4137-525E-43E3BED18DCA}"/>
              </a:ext>
            </a:extLst>
          </p:cNvPr>
          <p:cNvSpPr>
            <a:spLocks noGrp="1"/>
          </p:cNvSpPr>
          <p:nvPr>
            <p:ph type="pic" sz="quarter" idx="15" hasCustomPrompt="1"/>
          </p:nvPr>
        </p:nvSpPr>
        <p:spPr>
          <a:xfrm>
            <a:off x="0" y="0"/>
            <a:ext cx="6558820" cy="6858000"/>
          </a:xfrm>
          <a:custGeom>
            <a:avLst/>
            <a:gdLst>
              <a:gd name="connsiteX0" fmla="*/ 0 w 6558820"/>
              <a:gd name="connsiteY0" fmla="*/ 0 h 6858000"/>
              <a:gd name="connsiteX1" fmla="*/ 4396342 w 6558820"/>
              <a:gd name="connsiteY1" fmla="*/ 0 h 6858000"/>
              <a:gd name="connsiteX2" fmla="*/ 6558820 w 6558820"/>
              <a:gd name="connsiteY2" fmla="*/ 2878052 h 6858000"/>
              <a:gd name="connsiteX3" fmla="*/ 3826068 w 6558820"/>
              <a:gd name="connsiteY3" fmla="*/ 6858000 h 6858000"/>
              <a:gd name="connsiteX4" fmla="*/ 0 w 655882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58820" h="6858000">
                <a:moveTo>
                  <a:pt x="0" y="0"/>
                </a:moveTo>
                <a:lnTo>
                  <a:pt x="4396342" y="0"/>
                </a:lnTo>
                <a:lnTo>
                  <a:pt x="6558820" y="2878052"/>
                </a:lnTo>
                <a:lnTo>
                  <a:pt x="3826068" y="6858000"/>
                </a:lnTo>
                <a:lnTo>
                  <a:pt x="0" y="6858000"/>
                </a:lnTo>
                <a:close/>
              </a:path>
            </a:pathLst>
          </a:custGeom>
          <a:solidFill>
            <a:schemeClr val="bg2"/>
          </a:solidFill>
        </p:spPr>
        <p:txBody>
          <a:bodyPr wrap="square" lIns="144000" tIns="144000" rIns="144000" bIns="144000" anchor="b">
            <a:noAutofit/>
          </a:bodyPr>
          <a:lstStyle>
            <a:lvl1pPr marL="0" indent="0">
              <a:buNone/>
              <a:defRPr sz="1400"/>
            </a:lvl1pPr>
          </a:lstStyle>
          <a:p>
            <a:r>
              <a:rPr lang="en-US" dirty="0"/>
              <a:t>Please click on icon to insert image</a:t>
            </a:r>
          </a:p>
        </p:txBody>
      </p:sp>
      <p:sp>
        <p:nvSpPr>
          <p:cNvPr id="2" name="Titel 1">
            <a:extLst>
              <a:ext uri="{FF2B5EF4-FFF2-40B4-BE49-F238E27FC236}">
                <a16:creationId xmlns:a16="http://schemas.microsoft.com/office/drawing/2014/main" id="{CDA4FE97-9D3F-4806-826F-04FA53127EE8}"/>
              </a:ext>
            </a:extLst>
          </p:cNvPr>
          <p:cNvSpPr>
            <a:spLocks noGrp="1"/>
          </p:cNvSpPr>
          <p:nvPr>
            <p:ph type="title" hasCustomPrompt="1"/>
          </p:nvPr>
        </p:nvSpPr>
        <p:spPr>
          <a:xfrm>
            <a:off x="695325" y="372268"/>
            <a:ext cx="3891189" cy="443198"/>
          </a:xfrm>
        </p:spPr>
        <p:txBody>
          <a:bodyPr vert="horz"/>
          <a:lstStyle>
            <a:lvl1pPr>
              <a:defRPr>
                <a:solidFill>
                  <a:schemeClr val="bg1"/>
                </a:solidFill>
              </a:defRPr>
            </a:lvl1pPr>
          </a:lstStyle>
          <a:p>
            <a:r>
              <a:rPr lang="de-DE" dirty="0"/>
              <a:t>Title, Calibri </a:t>
            </a:r>
            <a:r>
              <a:rPr lang="de-DE" dirty="0" err="1"/>
              <a:t>Bold</a:t>
            </a:r>
            <a:r>
              <a:rPr lang="de-DE" dirty="0"/>
              <a:t>, 32pt</a:t>
            </a:r>
            <a:endParaRPr lang="en-US" dirty="0"/>
          </a:p>
        </p:txBody>
      </p:sp>
      <p:sp>
        <p:nvSpPr>
          <p:cNvPr id="8" name="Textplatzhalter 7">
            <a:extLst>
              <a:ext uri="{FF2B5EF4-FFF2-40B4-BE49-F238E27FC236}">
                <a16:creationId xmlns:a16="http://schemas.microsoft.com/office/drawing/2014/main" id="{42F3C34B-24E5-47A4-6876-9BC98D1537C5}"/>
              </a:ext>
            </a:extLst>
          </p:cNvPr>
          <p:cNvSpPr>
            <a:spLocks noGrp="1"/>
          </p:cNvSpPr>
          <p:nvPr>
            <p:ph type="body" sz="quarter" idx="13" hasCustomPrompt="1"/>
          </p:nvPr>
        </p:nvSpPr>
        <p:spPr>
          <a:xfrm>
            <a:off x="695325" y="815466"/>
            <a:ext cx="3891344" cy="350838"/>
          </a:xfrm>
        </p:spPr>
        <p:txBody>
          <a:bodyPr>
            <a:noAutofit/>
          </a:bodyPr>
          <a:lstStyle>
            <a:lvl1pPr marL="0" indent="0">
              <a:buNone/>
              <a:defRPr sz="2400">
                <a:solidFill>
                  <a:schemeClr val="bg1"/>
                </a:solidFill>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
        <p:nvSpPr>
          <p:cNvPr id="16" name="Inhaltsplatzhalter 15">
            <a:extLst>
              <a:ext uri="{FF2B5EF4-FFF2-40B4-BE49-F238E27FC236}">
                <a16:creationId xmlns:a16="http://schemas.microsoft.com/office/drawing/2014/main" id="{E9CA20AB-8DCB-36FF-A5AE-484D05943EAF}"/>
              </a:ext>
            </a:extLst>
          </p:cNvPr>
          <p:cNvSpPr>
            <a:spLocks noGrp="1"/>
          </p:cNvSpPr>
          <p:nvPr>
            <p:ph sz="quarter" idx="16" hasCustomPrompt="1"/>
          </p:nvPr>
        </p:nvSpPr>
        <p:spPr>
          <a:xfrm>
            <a:off x="6996113" y="1628775"/>
            <a:ext cx="4497387" cy="4608513"/>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Tree>
    <p:extLst>
      <p:ext uri="{BB962C8B-B14F-4D97-AF65-F5344CB8AC3E}">
        <p14:creationId xmlns:p14="http://schemas.microsoft.com/office/powerpoint/2010/main" val="1980703332"/>
      </p:ext>
    </p:extLst>
  </p:cSld>
  <p:clrMapOvr>
    <a:masterClrMapping/>
  </p:clrMapOvr>
  <p:extLst>
    <p:ext uri="{DCECCB84-F9BA-43D5-87BE-67443E8EF086}">
      <p15:sldGuideLst xmlns:p15="http://schemas.microsoft.com/office/powerpoint/2012/main">
        <p15:guide id="1" pos="4135" userDrawn="1">
          <p15:clr>
            <a:srgbClr val="FBAE40"/>
          </p15:clr>
        </p15:guide>
        <p15:guide id="2" pos="4407"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ith gradient 1">
    <p:bg>
      <p:bgPr>
        <a:gradFill>
          <a:gsLst>
            <a:gs pos="11000">
              <a:schemeClr val="accent1"/>
            </a:gs>
            <a:gs pos="100000">
              <a:schemeClr val="accent3"/>
            </a:gs>
          </a:gsLst>
          <a:lin ang="18900000" scaled="0"/>
        </a:gra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23DC706-FF19-0519-32D1-27E11AEDB41E}"/>
              </a:ext>
            </a:extLst>
          </p:cNvPr>
          <p:cNvGraphicFramePr>
            <a:graphicFrameLocks noChangeAspect="1"/>
          </p:cNvGraphicFramePr>
          <p:nvPr userDrawn="1">
            <p:custDataLst>
              <p:tags r:id="rId1"/>
            </p:custDataLst>
            <p:extLst>
              <p:ext uri="{D42A27DB-BD31-4B8C-83A1-F6EECF244321}">
                <p14:modId xmlns:p14="http://schemas.microsoft.com/office/powerpoint/2010/main" val="4082197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8" name="Objekt 7" hidden="1">
                        <a:extLst>
                          <a:ext uri="{FF2B5EF4-FFF2-40B4-BE49-F238E27FC236}">
                            <a16:creationId xmlns:a16="http://schemas.microsoft.com/office/drawing/2014/main" id="{023DC706-FF19-0519-32D1-27E11AEDB4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AAB0E1-19E2-486E-9FA6-0A1F4F1C09D4}"/>
              </a:ext>
            </a:extLst>
          </p:cNvPr>
          <p:cNvSpPr>
            <a:spLocks noGrp="1"/>
          </p:cNvSpPr>
          <p:nvPr>
            <p:ph type="ctrTitle" hasCustomPrompt="1"/>
          </p:nvPr>
        </p:nvSpPr>
        <p:spPr>
          <a:xfrm>
            <a:off x="1511300" y="4109865"/>
            <a:ext cx="7560000" cy="443198"/>
          </a:xfrm>
        </p:spPr>
        <p:txBody>
          <a:bodyPr vert="horz" wrap="square" anchor="b"/>
          <a:lstStyle>
            <a:lvl1pPr algn="l">
              <a:defRPr sz="3200">
                <a:solidFill>
                  <a:schemeClr val="bg1"/>
                </a:solidFill>
              </a:defRPr>
            </a:lvl1pPr>
          </a:lstStyle>
          <a:p>
            <a:r>
              <a:rPr lang="de-DE" dirty="0"/>
              <a:t>Title in </a:t>
            </a:r>
            <a:r>
              <a:rPr lang="de-DE" dirty="0" err="1"/>
              <a:t>one</a:t>
            </a:r>
            <a:r>
              <a:rPr lang="de-DE" dirty="0"/>
              <a:t> </a:t>
            </a:r>
            <a:r>
              <a:rPr lang="de-DE" dirty="0" err="1"/>
              <a:t>line</a:t>
            </a:r>
            <a:r>
              <a:rPr lang="de-DE" dirty="0"/>
              <a:t>, Calibri </a:t>
            </a:r>
            <a:r>
              <a:rPr lang="de-DE" dirty="0" err="1"/>
              <a:t>Bold</a:t>
            </a:r>
            <a:r>
              <a:rPr lang="de-DE" dirty="0"/>
              <a:t>, 32pt</a:t>
            </a:r>
            <a:endParaRPr lang="en-US" dirty="0"/>
          </a:p>
        </p:txBody>
      </p:sp>
      <p:sp>
        <p:nvSpPr>
          <p:cNvPr id="3" name="Untertitel 2">
            <a:extLst>
              <a:ext uri="{FF2B5EF4-FFF2-40B4-BE49-F238E27FC236}">
                <a16:creationId xmlns:a16="http://schemas.microsoft.com/office/drawing/2014/main" id="{1D2245C3-0347-4A19-B37F-371700C8C7F8}"/>
              </a:ext>
            </a:extLst>
          </p:cNvPr>
          <p:cNvSpPr>
            <a:spLocks noGrp="1"/>
          </p:cNvSpPr>
          <p:nvPr>
            <p:ph type="subTitle" idx="1" hasCustomPrompt="1"/>
          </p:nvPr>
        </p:nvSpPr>
        <p:spPr>
          <a:xfrm>
            <a:off x="1511300" y="4780278"/>
            <a:ext cx="7560000" cy="307777"/>
          </a:xfrm>
        </p:spPr>
        <p:txBody>
          <a:bodyPr wrap="square">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err="1"/>
              <a:t>Subtitle</a:t>
            </a:r>
            <a:r>
              <a:rPr lang="de-DE" dirty="0"/>
              <a:t> in </a:t>
            </a:r>
            <a:r>
              <a:rPr lang="de-DE" dirty="0" err="1"/>
              <a:t>one</a:t>
            </a:r>
            <a:r>
              <a:rPr lang="de-DE" dirty="0"/>
              <a:t> </a:t>
            </a:r>
            <a:r>
              <a:rPr lang="de-DE" dirty="0" err="1"/>
              <a:t>line</a:t>
            </a:r>
            <a:r>
              <a:rPr lang="de-DE" dirty="0"/>
              <a:t>, Calibri Light, 20pt</a:t>
            </a:r>
            <a:endParaRPr lang="en-US" dirty="0"/>
          </a:p>
        </p:txBody>
      </p:sp>
      <p:sp>
        <p:nvSpPr>
          <p:cNvPr id="19" name="TextBox 28">
            <a:extLst>
              <a:ext uri="{FF2B5EF4-FFF2-40B4-BE49-F238E27FC236}">
                <a16:creationId xmlns:a16="http://schemas.microsoft.com/office/drawing/2014/main" id="{0F142C4B-50A7-F05E-6BAA-FAF09DC22154}"/>
              </a:ext>
            </a:extLst>
          </p:cNvPr>
          <p:cNvSpPr txBox="1"/>
          <p:nvPr userDrawn="1"/>
        </p:nvSpPr>
        <p:spPr>
          <a:xfrm>
            <a:off x="695325" y="2310804"/>
            <a:ext cx="3497811" cy="492443"/>
          </a:xfrm>
          <a:prstGeom prst="rect">
            <a:avLst/>
          </a:prstGeom>
          <a:noFill/>
        </p:spPr>
        <p:txBody>
          <a:bodyPr wrap="square" lIns="0" tIns="0" rIns="0" bIns="0" rtlCol="0">
            <a:spAutoFit/>
          </a:bodyPr>
          <a:lstStyle/>
          <a:p>
            <a:pPr algn="l"/>
            <a:r>
              <a:rPr lang="en-GB" sz="2000" b="1" dirty="0">
                <a:solidFill>
                  <a:srgbClr val="FFFFFF"/>
                </a:solidFill>
                <a:effectLst/>
                <a:latin typeface="Calibri" panose="020F0502020204030204" pitchFamily="34" charset="0"/>
              </a:rPr>
              <a:t>Explore the Kontron Group</a:t>
            </a:r>
          </a:p>
          <a:p>
            <a:pPr algn="l"/>
            <a:r>
              <a:rPr lang="en-US" sz="1200" dirty="0">
                <a:solidFill>
                  <a:srgbClr val="FFFFFF"/>
                </a:solidFill>
                <a:effectLst/>
                <a:latin typeface="Calibri Light" panose="020F0302020204030204" pitchFamily="34" charset="0"/>
              </a:rPr>
              <a:t>We are a fast-moving multinational technology leader.</a:t>
            </a:r>
            <a:endParaRPr lang="en-GB" sz="1200" dirty="0">
              <a:solidFill>
                <a:srgbClr val="FFFFFF"/>
              </a:solidFill>
              <a:effectLst/>
              <a:latin typeface="Calibri Light" panose="020F0302020204030204" pitchFamily="34" charset="0"/>
            </a:endParaRPr>
          </a:p>
        </p:txBody>
      </p:sp>
      <p:cxnSp>
        <p:nvCxnSpPr>
          <p:cNvPr id="39" name="Gerader Verbinder 38">
            <a:extLst>
              <a:ext uri="{FF2B5EF4-FFF2-40B4-BE49-F238E27FC236}">
                <a16:creationId xmlns:a16="http://schemas.microsoft.com/office/drawing/2014/main" id="{60B78CA5-DDCE-5A6F-D386-E9AEC96D2544}"/>
              </a:ext>
            </a:extLst>
          </p:cNvPr>
          <p:cNvCxnSpPr>
            <a:cxnSpLocks/>
          </p:cNvCxnSpPr>
          <p:nvPr userDrawn="1"/>
        </p:nvCxnSpPr>
        <p:spPr>
          <a:xfrm>
            <a:off x="1511300" y="4666670"/>
            <a:ext cx="68961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Freihandform: Form 33">
            <a:extLst>
              <a:ext uri="{FF2B5EF4-FFF2-40B4-BE49-F238E27FC236}">
                <a16:creationId xmlns:a16="http://schemas.microsoft.com/office/drawing/2014/main" id="{A994A3DB-6021-91F8-F66B-E58B159FC7C9}"/>
              </a:ext>
            </a:extLst>
          </p:cNvPr>
          <p:cNvSpPr/>
          <p:nvPr userDrawn="1"/>
        </p:nvSpPr>
        <p:spPr>
          <a:xfrm flipH="1">
            <a:off x="8791632" y="0"/>
            <a:ext cx="3400369" cy="3251144"/>
          </a:xfrm>
          <a:custGeom>
            <a:avLst/>
            <a:gdLst>
              <a:gd name="connsiteX0" fmla="*/ 3400369 w 3400369"/>
              <a:gd name="connsiteY0" fmla="*/ 0 h 3251144"/>
              <a:gd name="connsiteX1" fmla="*/ 550671 w 3400369"/>
              <a:gd name="connsiteY1" fmla="*/ 0 h 3251144"/>
              <a:gd name="connsiteX2" fmla="*/ 0 w 3400369"/>
              <a:gd name="connsiteY2" fmla="*/ 732890 h 3251144"/>
              <a:gd name="connsiteX3" fmla="*/ 0 w 3400369"/>
              <a:gd name="connsiteY3" fmla="*/ 3251144 h 3251144"/>
              <a:gd name="connsiteX4" fmla="*/ 920144 w 3400369"/>
              <a:gd name="connsiteY4" fmla="*/ 3251144 h 3251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0369" h="3251144">
                <a:moveTo>
                  <a:pt x="3400369" y="0"/>
                </a:moveTo>
                <a:lnTo>
                  <a:pt x="550671" y="0"/>
                </a:lnTo>
                <a:lnTo>
                  <a:pt x="0" y="732890"/>
                </a:lnTo>
                <a:lnTo>
                  <a:pt x="0" y="3251144"/>
                </a:lnTo>
                <a:lnTo>
                  <a:pt x="920144" y="3251144"/>
                </a:lnTo>
                <a:close/>
              </a:path>
            </a:pathLst>
          </a:custGeom>
          <a:gradFill>
            <a:gsLst>
              <a:gs pos="11000">
                <a:schemeClr val="bg1">
                  <a:alpha val="0"/>
                </a:schemeClr>
              </a:gs>
              <a:gs pos="100000">
                <a:schemeClr val="bg1">
                  <a:alpha val="19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32" name="Freihandform: Form 31">
            <a:extLst>
              <a:ext uri="{FF2B5EF4-FFF2-40B4-BE49-F238E27FC236}">
                <a16:creationId xmlns:a16="http://schemas.microsoft.com/office/drawing/2014/main" id="{849EE277-AC61-3D32-CC44-3B3D67795364}"/>
              </a:ext>
            </a:extLst>
          </p:cNvPr>
          <p:cNvSpPr/>
          <p:nvPr userDrawn="1"/>
        </p:nvSpPr>
        <p:spPr>
          <a:xfrm>
            <a:off x="6228249" y="0"/>
            <a:ext cx="5292506" cy="3251144"/>
          </a:xfrm>
          <a:custGeom>
            <a:avLst/>
            <a:gdLst>
              <a:gd name="connsiteX0" fmla="*/ 2442807 w 5292506"/>
              <a:gd name="connsiteY0" fmla="*/ 0 h 3251144"/>
              <a:gd name="connsiteX1" fmla="*/ 5292506 w 5292506"/>
              <a:gd name="connsiteY1" fmla="*/ 0 h 3251144"/>
              <a:gd name="connsiteX2" fmla="*/ 2812281 w 5292506"/>
              <a:gd name="connsiteY2" fmla="*/ 3251144 h 3251144"/>
              <a:gd name="connsiteX3" fmla="*/ 0 w 5292506"/>
              <a:gd name="connsiteY3" fmla="*/ 3251144 h 3251144"/>
            </a:gdLst>
            <a:ahLst/>
            <a:cxnLst>
              <a:cxn ang="0">
                <a:pos x="connsiteX0" y="connsiteY0"/>
              </a:cxn>
              <a:cxn ang="0">
                <a:pos x="connsiteX1" y="connsiteY1"/>
              </a:cxn>
              <a:cxn ang="0">
                <a:pos x="connsiteX2" y="connsiteY2"/>
              </a:cxn>
              <a:cxn ang="0">
                <a:pos x="connsiteX3" y="connsiteY3"/>
              </a:cxn>
            </a:cxnLst>
            <a:rect l="l" t="t" r="r" b="b"/>
            <a:pathLst>
              <a:path w="5292506" h="3251144">
                <a:moveTo>
                  <a:pt x="2442807" y="0"/>
                </a:moveTo>
                <a:lnTo>
                  <a:pt x="5292506" y="0"/>
                </a:lnTo>
                <a:lnTo>
                  <a:pt x="2812281" y="3251144"/>
                </a:lnTo>
                <a:lnTo>
                  <a:pt x="0" y="3251144"/>
                </a:lnTo>
                <a:close/>
              </a:path>
            </a:pathLst>
          </a:custGeom>
          <a:gradFill>
            <a:gsLst>
              <a:gs pos="11000">
                <a:schemeClr val="bg1">
                  <a:alpha val="38000"/>
                </a:schemeClr>
              </a:gs>
              <a:gs pos="100000">
                <a:schemeClr val="bg1">
                  <a:alpha val="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schemeClr val="lt1"/>
              </a:solidFill>
            </a:endParaRPr>
          </a:p>
        </p:txBody>
      </p:sp>
      <p:sp>
        <p:nvSpPr>
          <p:cNvPr id="30" name="Freihandform: Form 29">
            <a:extLst>
              <a:ext uri="{FF2B5EF4-FFF2-40B4-BE49-F238E27FC236}">
                <a16:creationId xmlns:a16="http://schemas.microsoft.com/office/drawing/2014/main" id="{0AFA0D22-A622-3DC7-6219-76828DDDACA0}"/>
              </a:ext>
            </a:extLst>
          </p:cNvPr>
          <p:cNvSpPr/>
          <p:nvPr userDrawn="1"/>
        </p:nvSpPr>
        <p:spPr>
          <a:xfrm flipH="1">
            <a:off x="3615539" y="0"/>
            <a:ext cx="5292507" cy="3251144"/>
          </a:xfrm>
          <a:custGeom>
            <a:avLst/>
            <a:gdLst>
              <a:gd name="connsiteX0" fmla="*/ 5292507 w 5292507"/>
              <a:gd name="connsiteY0" fmla="*/ 0 h 3251144"/>
              <a:gd name="connsiteX1" fmla="*/ 2442808 w 5292507"/>
              <a:gd name="connsiteY1" fmla="*/ 0 h 3251144"/>
              <a:gd name="connsiteX2" fmla="*/ 0 w 5292507"/>
              <a:gd name="connsiteY2" fmla="*/ 3251144 h 3251144"/>
              <a:gd name="connsiteX3" fmla="*/ 2812282 w 5292507"/>
              <a:gd name="connsiteY3" fmla="*/ 3251144 h 3251144"/>
            </a:gdLst>
            <a:ahLst/>
            <a:cxnLst>
              <a:cxn ang="0">
                <a:pos x="connsiteX0" y="connsiteY0"/>
              </a:cxn>
              <a:cxn ang="0">
                <a:pos x="connsiteX1" y="connsiteY1"/>
              </a:cxn>
              <a:cxn ang="0">
                <a:pos x="connsiteX2" y="connsiteY2"/>
              </a:cxn>
              <a:cxn ang="0">
                <a:pos x="connsiteX3" y="connsiteY3"/>
              </a:cxn>
            </a:cxnLst>
            <a:rect l="l" t="t" r="r" b="b"/>
            <a:pathLst>
              <a:path w="5292507" h="3251144">
                <a:moveTo>
                  <a:pt x="5292507" y="0"/>
                </a:moveTo>
                <a:lnTo>
                  <a:pt x="2442808" y="0"/>
                </a:lnTo>
                <a:lnTo>
                  <a:pt x="0" y="3251144"/>
                </a:lnTo>
                <a:lnTo>
                  <a:pt x="2812282" y="3251144"/>
                </a:lnTo>
                <a:close/>
              </a:path>
            </a:pathLst>
          </a:custGeom>
          <a:gradFill>
            <a:gsLst>
              <a:gs pos="11000">
                <a:schemeClr val="bg1">
                  <a:alpha val="0"/>
                </a:schemeClr>
              </a:gs>
              <a:gs pos="100000">
                <a:schemeClr val="bg1">
                  <a:alpha val="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7" name="Freihandform: Form 26">
            <a:extLst>
              <a:ext uri="{FF2B5EF4-FFF2-40B4-BE49-F238E27FC236}">
                <a16:creationId xmlns:a16="http://schemas.microsoft.com/office/drawing/2014/main" id="{27B79729-C41A-FF29-4063-ABCA279ED4CF}"/>
              </a:ext>
            </a:extLst>
          </p:cNvPr>
          <p:cNvSpPr/>
          <p:nvPr userDrawn="1"/>
        </p:nvSpPr>
        <p:spPr>
          <a:xfrm>
            <a:off x="1052155" y="0"/>
            <a:ext cx="5292508" cy="3251144"/>
          </a:xfrm>
          <a:custGeom>
            <a:avLst/>
            <a:gdLst>
              <a:gd name="connsiteX0" fmla="*/ 2442809 w 5292508"/>
              <a:gd name="connsiteY0" fmla="*/ 0 h 3251144"/>
              <a:gd name="connsiteX1" fmla="*/ 5292508 w 5292508"/>
              <a:gd name="connsiteY1" fmla="*/ 0 h 3251144"/>
              <a:gd name="connsiteX2" fmla="*/ 2812283 w 5292508"/>
              <a:gd name="connsiteY2" fmla="*/ 3251144 h 3251144"/>
              <a:gd name="connsiteX3" fmla="*/ 0 w 5292508"/>
              <a:gd name="connsiteY3" fmla="*/ 3251144 h 3251144"/>
            </a:gdLst>
            <a:ahLst/>
            <a:cxnLst>
              <a:cxn ang="0">
                <a:pos x="connsiteX0" y="connsiteY0"/>
              </a:cxn>
              <a:cxn ang="0">
                <a:pos x="connsiteX1" y="connsiteY1"/>
              </a:cxn>
              <a:cxn ang="0">
                <a:pos x="connsiteX2" y="connsiteY2"/>
              </a:cxn>
              <a:cxn ang="0">
                <a:pos x="connsiteX3" y="connsiteY3"/>
              </a:cxn>
            </a:cxnLst>
            <a:rect l="l" t="t" r="r" b="b"/>
            <a:pathLst>
              <a:path w="5292508" h="3251144">
                <a:moveTo>
                  <a:pt x="2442809" y="0"/>
                </a:moveTo>
                <a:lnTo>
                  <a:pt x="5292508" y="0"/>
                </a:lnTo>
                <a:lnTo>
                  <a:pt x="2812283" y="3251144"/>
                </a:lnTo>
                <a:lnTo>
                  <a:pt x="0" y="3251144"/>
                </a:lnTo>
                <a:close/>
              </a:path>
            </a:pathLst>
          </a:custGeom>
          <a:gradFill>
            <a:gsLst>
              <a:gs pos="33000">
                <a:schemeClr val="bg1">
                  <a:alpha val="0"/>
                </a:schemeClr>
              </a:gs>
              <a:gs pos="100000">
                <a:schemeClr val="bg1">
                  <a:alpha val="2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schemeClr val="lt1"/>
              </a:solidFill>
            </a:endParaRPr>
          </a:p>
        </p:txBody>
      </p:sp>
      <p:sp>
        <p:nvSpPr>
          <p:cNvPr id="24" name="Freihandform: Form 23">
            <a:extLst>
              <a:ext uri="{FF2B5EF4-FFF2-40B4-BE49-F238E27FC236}">
                <a16:creationId xmlns:a16="http://schemas.microsoft.com/office/drawing/2014/main" id="{69F0BBE3-FAB3-B2CB-1D05-8B4DEF8CB317}"/>
              </a:ext>
            </a:extLst>
          </p:cNvPr>
          <p:cNvSpPr/>
          <p:nvPr userDrawn="1"/>
        </p:nvSpPr>
        <p:spPr>
          <a:xfrm flipH="1" flipV="1">
            <a:off x="8757799" y="3555267"/>
            <a:ext cx="3434201" cy="3302733"/>
          </a:xfrm>
          <a:custGeom>
            <a:avLst/>
            <a:gdLst>
              <a:gd name="connsiteX0" fmla="*/ 914620 w 3434201"/>
              <a:gd name="connsiteY0" fmla="*/ 3302733 h 3302733"/>
              <a:gd name="connsiteX1" fmla="*/ 0 w 3434201"/>
              <a:gd name="connsiteY1" fmla="*/ 3302733 h 3302733"/>
              <a:gd name="connsiteX2" fmla="*/ 0 w 3434201"/>
              <a:gd name="connsiteY2" fmla="*/ 777127 h 3302733"/>
              <a:gd name="connsiteX3" fmla="*/ 583909 w 3434201"/>
              <a:gd name="connsiteY3" fmla="*/ 0 h 3302733"/>
              <a:gd name="connsiteX4" fmla="*/ 3434201 w 3434201"/>
              <a:gd name="connsiteY4" fmla="*/ 0 h 3302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4201" h="3302733">
                <a:moveTo>
                  <a:pt x="914620" y="3302733"/>
                </a:moveTo>
                <a:lnTo>
                  <a:pt x="0" y="3302733"/>
                </a:lnTo>
                <a:lnTo>
                  <a:pt x="0" y="777127"/>
                </a:lnTo>
                <a:lnTo>
                  <a:pt x="583909" y="0"/>
                </a:lnTo>
                <a:lnTo>
                  <a:pt x="3434201" y="0"/>
                </a:lnTo>
                <a:close/>
              </a:path>
            </a:pathLst>
          </a:custGeom>
          <a:gradFill>
            <a:gsLst>
              <a:gs pos="11000">
                <a:schemeClr val="bg1">
                  <a:alpha val="0"/>
                </a:schemeClr>
              </a:gs>
              <a:gs pos="100000">
                <a:schemeClr val="bg1">
                  <a:alpha val="19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20" name="Freihandform: Form 19">
            <a:extLst>
              <a:ext uri="{FF2B5EF4-FFF2-40B4-BE49-F238E27FC236}">
                <a16:creationId xmlns:a16="http://schemas.microsoft.com/office/drawing/2014/main" id="{91114AED-B58A-A268-0C06-B77DE53675BE}"/>
              </a:ext>
            </a:extLst>
          </p:cNvPr>
          <p:cNvSpPr/>
          <p:nvPr userDrawn="1"/>
        </p:nvSpPr>
        <p:spPr>
          <a:xfrm flipV="1">
            <a:off x="6272744" y="3555267"/>
            <a:ext cx="5331862" cy="3302733"/>
          </a:xfrm>
          <a:custGeom>
            <a:avLst/>
            <a:gdLst>
              <a:gd name="connsiteX0" fmla="*/ 0 w 5331862"/>
              <a:gd name="connsiteY0" fmla="*/ 3302733 h 3302733"/>
              <a:gd name="connsiteX1" fmla="*/ 2812281 w 5331862"/>
              <a:gd name="connsiteY1" fmla="*/ 3302733 h 3302733"/>
              <a:gd name="connsiteX2" fmla="*/ 5331862 w 5331862"/>
              <a:gd name="connsiteY2" fmla="*/ 0 h 3302733"/>
              <a:gd name="connsiteX3" fmla="*/ 2481570 w 5331862"/>
              <a:gd name="connsiteY3" fmla="*/ 0 h 3302733"/>
            </a:gdLst>
            <a:ahLst/>
            <a:cxnLst>
              <a:cxn ang="0">
                <a:pos x="connsiteX0" y="connsiteY0"/>
              </a:cxn>
              <a:cxn ang="0">
                <a:pos x="connsiteX1" y="connsiteY1"/>
              </a:cxn>
              <a:cxn ang="0">
                <a:pos x="connsiteX2" y="connsiteY2"/>
              </a:cxn>
              <a:cxn ang="0">
                <a:pos x="connsiteX3" y="connsiteY3"/>
              </a:cxn>
            </a:cxnLst>
            <a:rect l="l" t="t" r="r" b="b"/>
            <a:pathLst>
              <a:path w="5331862" h="3302733">
                <a:moveTo>
                  <a:pt x="0" y="3302733"/>
                </a:moveTo>
                <a:lnTo>
                  <a:pt x="2812281" y="3302733"/>
                </a:lnTo>
                <a:lnTo>
                  <a:pt x="5331862" y="0"/>
                </a:lnTo>
                <a:lnTo>
                  <a:pt x="2481570" y="0"/>
                </a:lnTo>
                <a:close/>
              </a:path>
            </a:pathLst>
          </a:custGeom>
          <a:gradFill>
            <a:gsLst>
              <a:gs pos="11000">
                <a:schemeClr val="bg1">
                  <a:alpha val="0"/>
                </a:schemeClr>
              </a:gs>
              <a:gs pos="100000">
                <a:schemeClr val="bg1">
                  <a:alpha val="27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solidFill>
                <a:schemeClr val="lt1"/>
              </a:solidFill>
            </a:endParaRPr>
          </a:p>
        </p:txBody>
      </p:sp>
      <p:pic>
        <p:nvPicPr>
          <p:cNvPr id="4" name="Grafik 3">
            <a:extLst>
              <a:ext uri="{FF2B5EF4-FFF2-40B4-BE49-F238E27FC236}">
                <a16:creationId xmlns:a16="http://schemas.microsoft.com/office/drawing/2014/main" id="{931FC9C0-B1B0-E438-8708-A66605C8AB9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95325" y="4315973"/>
            <a:ext cx="561116" cy="701394"/>
          </a:xfrm>
          <a:prstGeom prst="rect">
            <a:avLst/>
          </a:prstGeom>
        </p:spPr>
      </p:pic>
      <p:grpSp>
        <p:nvGrpSpPr>
          <p:cNvPr id="5" name="Gruppieren 4">
            <a:extLst>
              <a:ext uri="{FF2B5EF4-FFF2-40B4-BE49-F238E27FC236}">
                <a16:creationId xmlns:a16="http://schemas.microsoft.com/office/drawing/2014/main" id="{F24B1B36-4898-95F2-9189-445D17CD767C}"/>
              </a:ext>
            </a:extLst>
          </p:cNvPr>
          <p:cNvGrpSpPr/>
          <p:nvPr userDrawn="1"/>
        </p:nvGrpSpPr>
        <p:grpSpPr>
          <a:xfrm>
            <a:off x="695324" y="1628872"/>
            <a:ext cx="2998881" cy="568325"/>
            <a:chOff x="10407695" y="441325"/>
            <a:chExt cx="1088979" cy="206375"/>
          </a:xfrm>
          <a:solidFill>
            <a:schemeClr val="bg1"/>
          </a:solidFill>
        </p:grpSpPr>
        <p:sp>
          <p:nvSpPr>
            <p:cNvPr id="6" name="Freeform: Shape 10">
              <a:extLst>
                <a:ext uri="{FF2B5EF4-FFF2-40B4-BE49-F238E27FC236}">
                  <a16:creationId xmlns:a16="http://schemas.microsoft.com/office/drawing/2014/main" id="{C3A2C26C-6379-610E-5B2B-6DFE64D8A5FE}"/>
                </a:ext>
              </a:extLst>
            </p:cNvPr>
            <p:cNvSpPr/>
            <p:nvPr/>
          </p:nvSpPr>
          <p:spPr>
            <a:xfrm>
              <a:off x="10407695" y="441325"/>
              <a:ext cx="54179" cy="202059"/>
            </a:xfrm>
            <a:custGeom>
              <a:avLst/>
              <a:gdLst>
                <a:gd name="connsiteX0" fmla="*/ 92671 w 92670"/>
                <a:gd name="connsiteY0" fmla="*/ 0 h 338478"/>
                <a:gd name="connsiteX1" fmla="*/ 0 w 92670"/>
                <a:gd name="connsiteY1" fmla="*/ 0 h 338478"/>
                <a:gd name="connsiteX2" fmla="*/ 0 w 92670"/>
                <a:gd name="connsiteY2" fmla="*/ 338478 h 338478"/>
                <a:gd name="connsiteX3" fmla="*/ 92671 w 92670"/>
                <a:gd name="connsiteY3" fmla="*/ 217546 h 338478"/>
              </a:gdLst>
              <a:ahLst/>
              <a:cxnLst>
                <a:cxn ang="0">
                  <a:pos x="connsiteX0" y="connsiteY0"/>
                </a:cxn>
                <a:cxn ang="0">
                  <a:pos x="connsiteX1" y="connsiteY1"/>
                </a:cxn>
                <a:cxn ang="0">
                  <a:pos x="connsiteX2" y="connsiteY2"/>
                </a:cxn>
                <a:cxn ang="0">
                  <a:pos x="connsiteX3" y="connsiteY3"/>
                </a:cxn>
              </a:cxnLst>
              <a:rect l="l" t="t" r="r" b="b"/>
              <a:pathLst>
                <a:path w="92670" h="338478">
                  <a:moveTo>
                    <a:pt x="92671" y="0"/>
                  </a:moveTo>
                  <a:lnTo>
                    <a:pt x="0" y="0"/>
                  </a:lnTo>
                  <a:lnTo>
                    <a:pt x="0" y="338478"/>
                  </a:lnTo>
                  <a:lnTo>
                    <a:pt x="92671" y="217546"/>
                  </a:lnTo>
                  <a:close/>
                </a:path>
              </a:pathLst>
            </a:custGeom>
            <a:grpFill/>
            <a:ln w="6540" cap="flat">
              <a:noFill/>
              <a:prstDash val="solid"/>
              <a:miter/>
            </a:ln>
          </p:spPr>
          <p:txBody>
            <a:bodyPr rtlCol="0" anchor="ctr"/>
            <a:lstStyle/>
            <a:p>
              <a:endParaRPr lang="en-GB"/>
            </a:p>
          </p:txBody>
        </p:sp>
        <p:sp>
          <p:nvSpPr>
            <p:cNvPr id="7" name="Freeform: Shape 11">
              <a:extLst>
                <a:ext uri="{FF2B5EF4-FFF2-40B4-BE49-F238E27FC236}">
                  <a16:creationId xmlns:a16="http://schemas.microsoft.com/office/drawing/2014/main" id="{FC0D3C72-B24B-2201-15E1-4086777BBBE4}"/>
                </a:ext>
              </a:extLst>
            </p:cNvPr>
            <p:cNvSpPr/>
            <p:nvPr/>
          </p:nvSpPr>
          <p:spPr>
            <a:xfrm>
              <a:off x="10461874" y="441325"/>
              <a:ext cx="1034800" cy="206375"/>
            </a:xfrm>
            <a:custGeom>
              <a:avLst/>
              <a:gdLst>
                <a:gd name="connsiteX0" fmla="*/ 196515 w 1769954"/>
                <a:gd name="connsiteY0" fmla="*/ 92671 h 345708"/>
                <a:gd name="connsiteX1" fmla="*/ 99243 w 1769954"/>
                <a:gd name="connsiteY1" fmla="*/ 217546 h 345708"/>
                <a:gd name="connsiteX2" fmla="*/ 194543 w 1769954"/>
                <a:gd name="connsiteY2" fmla="*/ 338478 h 345708"/>
                <a:gd name="connsiteX3" fmla="*/ 84784 w 1769954"/>
                <a:gd name="connsiteY3" fmla="*/ 338478 h 345708"/>
                <a:gd name="connsiteX4" fmla="*/ 0 w 1769954"/>
                <a:gd name="connsiteY4" fmla="*/ 217546 h 345708"/>
                <a:gd name="connsiteX5" fmla="*/ 95300 w 1769954"/>
                <a:gd name="connsiteY5" fmla="*/ 93328 h 345708"/>
                <a:gd name="connsiteX6" fmla="*/ 196515 w 1769954"/>
                <a:gd name="connsiteY6" fmla="*/ 92671 h 345708"/>
                <a:gd name="connsiteX7" fmla="*/ 338478 w 1769954"/>
                <a:gd name="connsiteY7" fmla="*/ 85441 h 345708"/>
                <a:gd name="connsiteX8" fmla="*/ 195857 w 1769954"/>
                <a:gd name="connsiteY8" fmla="*/ 215575 h 345708"/>
                <a:gd name="connsiteX9" fmla="*/ 338478 w 1769954"/>
                <a:gd name="connsiteY9" fmla="*/ 345708 h 345708"/>
                <a:gd name="connsiteX10" fmla="*/ 481100 w 1769954"/>
                <a:gd name="connsiteY10" fmla="*/ 215575 h 345708"/>
                <a:gd name="connsiteX11" fmla="*/ 338478 w 1769954"/>
                <a:gd name="connsiteY11" fmla="*/ 85441 h 345708"/>
                <a:gd name="connsiteX12" fmla="*/ 291157 w 1769954"/>
                <a:gd name="connsiteY12" fmla="*/ 215575 h 345708"/>
                <a:gd name="connsiteX13" fmla="*/ 338478 w 1769954"/>
                <a:gd name="connsiteY13" fmla="*/ 139335 h 345708"/>
                <a:gd name="connsiteX14" fmla="*/ 385800 w 1769954"/>
                <a:gd name="connsiteY14" fmla="*/ 215575 h 345708"/>
                <a:gd name="connsiteX15" fmla="*/ 338478 w 1769954"/>
                <a:gd name="connsiteY15" fmla="*/ 291814 h 345708"/>
                <a:gd name="connsiteX16" fmla="*/ 291157 w 1769954"/>
                <a:gd name="connsiteY16" fmla="*/ 215575 h 345708"/>
                <a:gd name="connsiteX17" fmla="*/ 683529 w 1769954"/>
                <a:gd name="connsiteY17" fmla="*/ 85441 h 345708"/>
                <a:gd name="connsiteX18" fmla="*/ 606632 w 1769954"/>
                <a:gd name="connsiteY18" fmla="*/ 119618 h 345708"/>
                <a:gd name="connsiteX19" fmla="*/ 605318 w 1769954"/>
                <a:gd name="connsiteY19" fmla="*/ 92671 h 345708"/>
                <a:gd name="connsiteX20" fmla="*/ 513962 w 1769954"/>
                <a:gd name="connsiteY20" fmla="*/ 92671 h 345708"/>
                <a:gd name="connsiteX21" fmla="*/ 513962 w 1769954"/>
                <a:gd name="connsiteY21" fmla="*/ 337821 h 345708"/>
                <a:gd name="connsiteX22" fmla="*/ 606632 w 1769954"/>
                <a:gd name="connsiteY22" fmla="*/ 337821 h 345708"/>
                <a:gd name="connsiteX23" fmla="*/ 606632 w 1769954"/>
                <a:gd name="connsiteY23" fmla="*/ 197172 h 345708"/>
                <a:gd name="connsiteX24" fmla="*/ 646724 w 1769954"/>
                <a:gd name="connsiteY24" fmla="*/ 143935 h 345708"/>
                <a:gd name="connsiteX25" fmla="*/ 682215 w 1769954"/>
                <a:gd name="connsiteY25" fmla="*/ 193886 h 345708"/>
                <a:gd name="connsiteX26" fmla="*/ 682215 w 1769954"/>
                <a:gd name="connsiteY26" fmla="*/ 337821 h 345708"/>
                <a:gd name="connsiteX27" fmla="*/ 774886 w 1769954"/>
                <a:gd name="connsiteY27" fmla="*/ 337821 h 345708"/>
                <a:gd name="connsiteX28" fmla="*/ 774886 w 1769954"/>
                <a:gd name="connsiteY28" fmla="*/ 173511 h 345708"/>
                <a:gd name="connsiteX29" fmla="*/ 683529 w 1769954"/>
                <a:gd name="connsiteY29" fmla="*/ 85441 h 345708"/>
                <a:gd name="connsiteX30" fmla="*/ 815635 w 1769954"/>
                <a:gd name="connsiteY30" fmla="*/ 260924 h 345708"/>
                <a:gd name="connsiteX31" fmla="*/ 912249 w 1769954"/>
                <a:gd name="connsiteY31" fmla="*/ 345051 h 345708"/>
                <a:gd name="connsiteX32" fmla="*/ 962199 w 1769954"/>
                <a:gd name="connsiteY32" fmla="*/ 340450 h 345708"/>
                <a:gd name="connsiteX33" fmla="*/ 962199 w 1769954"/>
                <a:gd name="connsiteY33" fmla="*/ 285242 h 345708"/>
                <a:gd name="connsiteX34" fmla="*/ 926708 w 1769954"/>
                <a:gd name="connsiteY34" fmla="*/ 286556 h 345708"/>
                <a:gd name="connsiteX35" fmla="*/ 908963 w 1769954"/>
                <a:gd name="connsiteY35" fmla="*/ 248437 h 345708"/>
                <a:gd name="connsiteX36" fmla="*/ 908963 w 1769954"/>
                <a:gd name="connsiteY36" fmla="*/ 151165 h 345708"/>
                <a:gd name="connsiteX37" fmla="*/ 962856 w 1769954"/>
                <a:gd name="connsiteY37" fmla="*/ 151165 h 345708"/>
                <a:gd name="connsiteX38" fmla="*/ 962856 w 1769954"/>
                <a:gd name="connsiteY38" fmla="*/ 93328 h 345708"/>
                <a:gd name="connsiteX39" fmla="*/ 908963 w 1769954"/>
                <a:gd name="connsiteY39" fmla="*/ 93328 h 345708"/>
                <a:gd name="connsiteX40" fmla="*/ 908963 w 1769954"/>
                <a:gd name="connsiteY40" fmla="*/ 0 h 345708"/>
                <a:gd name="connsiteX41" fmla="*/ 816292 w 1769954"/>
                <a:gd name="connsiteY41" fmla="*/ 120932 h 345708"/>
                <a:gd name="connsiteX42" fmla="*/ 815635 w 1769954"/>
                <a:gd name="connsiteY42" fmla="*/ 260924 h 345708"/>
                <a:gd name="connsiteX43" fmla="*/ 1097591 w 1769954"/>
                <a:gd name="connsiteY43" fmla="*/ 92671 h 345708"/>
                <a:gd name="connsiteX44" fmla="*/ 1006234 w 1769954"/>
                <a:gd name="connsiteY44" fmla="*/ 92671 h 345708"/>
                <a:gd name="connsiteX45" fmla="*/ 1006234 w 1769954"/>
                <a:gd name="connsiteY45" fmla="*/ 337821 h 345708"/>
                <a:gd name="connsiteX46" fmla="*/ 1098905 w 1769954"/>
                <a:gd name="connsiteY46" fmla="*/ 337821 h 345708"/>
                <a:gd name="connsiteX47" fmla="*/ 1098905 w 1769954"/>
                <a:gd name="connsiteY47" fmla="*/ 239235 h 345708"/>
                <a:gd name="connsiteX48" fmla="*/ 1162657 w 1769954"/>
                <a:gd name="connsiteY48" fmla="*/ 162995 h 345708"/>
                <a:gd name="connsiteX49" fmla="*/ 1182374 w 1769954"/>
                <a:gd name="connsiteY49" fmla="*/ 163653 h 345708"/>
                <a:gd name="connsiteX50" fmla="*/ 1182374 w 1769954"/>
                <a:gd name="connsiteY50" fmla="*/ 85441 h 345708"/>
                <a:gd name="connsiteX51" fmla="*/ 1100219 w 1769954"/>
                <a:gd name="connsiteY51" fmla="*/ 138678 h 345708"/>
                <a:gd name="connsiteX52" fmla="*/ 1099562 w 1769954"/>
                <a:gd name="connsiteY52" fmla="*/ 138678 h 345708"/>
                <a:gd name="connsiteX53" fmla="*/ 1097591 w 1769954"/>
                <a:gd name="connsiteY53" fmla="*/ 92671 h 345708"/>
                <a:gd name="connsiteX54" fmla="*/ 1338140 w 1769954"/>
                <a:gd name="connsiteY54" fmla="*/ 85441 h 345708"/>
                <a:gd name="connsiteX55" fmla="*/ 1195519 w 1769954"/>
                <a:gd name="connsiteY55" fmla="*/ 215575 h 345708"/>
                <a:gd name="connsiteX56" fmla="*/ 1338140 w 1769954"/>
                <a:gd name="connsiteY56" fmla="*/ 345708 h 345708"/>
                <a:gd name="connsiteX57" fmla="*/ 1480761 w 1769954"/>
                <a:gd name="connsiteY57" fmla="*/ 215575 h 345708"/>
                <a:gd name="connsiteX58" fmla="*/ 1338140 w 1769954"/>
                <a:gd name="connsiteY58" fmla="*/ 85441 h 345708"/>
                <a:gd name="connsiteX59" fmla="*/ 1290819 w 1769954"/>
                <a:gd name="connsiteY59" fmla="*/ 215575 h 345708"/>
                <a:gd name="connsiteX60" fmla="*/ 1338140 w 1769954"/>
                <a:gd name="connsiteY60" fmla="*/ 139335 h 345708"/>
                <a:gd name="connsiteX61" fmla="*/ 1385461 w 1769954"/>
                <a:gd name="connsiteY61" fmla="*/ 215575 h 345708"/>
                <a:gd name="connsiteX62" fmla="*/ 1338140 w 1769954"/>
                <a:gd name="connsiteY62" fmla="*/ 291814 h 345708"/>
                <a:gd name="connsiteX63" fmla="*/ 1290819 w 1769954"/>
                <a:gd name="connsiteY63" fmla="*/ 215575 h 345708"/>
                <a:gd name="connsiteX64" fmla="*/ 1678590 w 1769954"/>
                <a:gd name="connsiteY64" fmla="*/ 85441 h 345708"/>
                <a:gd name="connsiteX65" fmla="*/ 1601693 w 1769954"/>
                <a:gd name="connsiteY65" fmla="*/ 119618 h 345708"/>
                <a:gd name="connsiteX66" fmla="*/ 1600379 w 1769954"/>
                <a:gd name="connsiteY66" fmla="*/ 92671 h 345708"/>
                <a:gd name="connsiteX67" fmla="*/ 1509023 w 1769954"/>
                <a:gd name="connsiteY67" fmla="*/ 92671 h 345708"/>
                <a:gd name="connsiteX68" fmla="*/ 1509023 w 1769954"/>
                <a:gd name="connsiteY68" fmla="*/ 337821 h 345708"/>
                <a:gd name="connsiteX69" fmla="*/ 1601693 w 1769954"/>
                <a:gd name="connsiteY69" fmla="*/ 337821 h 345708"/>
                <a:gd name="connsiteX70" fmla="*/ 1601693 w 1769954"/>
                <a:gd name="connsiteY70" fmla="*/ 197829 h 345708"/>
                <a:gd name="connsiteX71" fmla="*/ 1641785 w 1769954"/>
                <a:gd name="connsiteY71" fmla="*/ 144593 h 345708"/>
                <a:gd name="connsiteX72" fmla="*/ 1677276 w 1769954"/>
                <a:gd name="connsiteY72" fmla="*/ 194543 h 345708"/>
                <a:gd name="connsiteX73" fmla="*/ 1677276 w 1769954"/>
                <a:gd name="connsiteY73" fmla="*/ 338478 h 345708"/>
                <a:gd name="connsiteX74" fmla="*/ 1769947 w 1769954"/>
                <a:gd name="connsiteY74" fmla="*/ 338478 h 345708"/>
                <a:gd name="connsiteX75" fmla="*/ 1769947 w 1769954"/>
                <a:gd name="connsiteY75" fmla="*/ 174169 h 345708"/>
                <a:gd name="connsiteX76" fmla="*/ 1678590 w 1769954"/>
                <a:gd name="connsiteY76" fmla="*/ 85441 h 34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69954" h="345708">
                  <a:moveTo>
                    <a:pt x="196515" y="92671"/>
                  </a:moveTo>
                  <a:lnTo>
                    <a:pt x="99243" y="217546"/>
                  </a:lnTo>
                  <a:lnTo>
                    <a:pt x="194543" y="338478"/>
                  </a:lnTo>
                  <a:lnTo>
                    <a:pt x="84784" y="338478"/>
                  </a:lnTo>
                  <a:lnTo>
                    <a:pt x="0" y="217546"/>
                  </a:lnTo>
                  <a:lnTo>
                    <a:pt x="95300" y="93328"/>
                  </a:lnTo>
                  <a:lnTo>
                    <a:pt x="196515" y="92671"/>
                  </a:lnTo>
                  <a:close/>
                  <a:moveTo>
                    <a:pt x="338478" y="85441"/>
                  </a:moveTo>
                  <a:cubicBezTo>
                    <a:pt x="261581" y="85441"/>
                    <a:pt x="195857" y="124876"/>
                    <a:pt x="195857" y="215575"/>
                  </a:cubicBezTo>
                  <a:cubicBezTo>
                    <a:pt x="195857" y="306274"/>
                    <a:pt x="261581" y="345708"/>
                    <a:pt x="338478" y="345708"/>
                  </a:cubicBezTo>
                  <a:cubicBezTo>
                    <a:pt x="415376" y="345708"/>
                    <a:pt x="481100" y="306274"/>
                    <a:pt x="481100" y="215575"/>
                  </a:cubicBezTo>
                  <a:cubicBezTo>
                    <a:pt x="481757" y="125533"/>
                    <a:pt x="415376" y="85441"/>
                    <a:pt x="338478" y="85441"/>
                  </a:cubicBezTo>
                  <a:close/>
                  <a:moveTo>
                    <a:pt x="291157" y="215575"/>
                  </a:moveTo>
                  <a:cubicBezTo>
                    <a:pt x="291157" y="180741"/>
                    <a:pt x="299701" y="139335"/>
                    <a:pt x="338478" y="139335"/>
                  </a:cubicBezTo>
                  <a:cubicBezTo>
                    <a:pt x="377256" y="139335"/>
                    <a:pt x="385800" y="180741"/>
                    <a:pt x="385800" y="215575"/>
                  </a:cubicBezTo>
                  <a:cubicBezTo>
                    <a:pt x="385800" y="250408"/>
                    <a:pt x="377256" y="291814"/>
                    <a:pt x="338478" y="291814"/>
                  </a:cubicBezTo>
                  <a:cubicBezTo>
                    <a:pt x="299701" y="291814"/>
                    <a:pt x="291157" y="250408"/>
                    <a:pt x="291157" y="215575"/>
                  </a:cubicBezTo>
                  <a:close/>
                  <a:moveTo>
                    <a:pt x="683529" y="85441"/>
                  </a:moveTo>
                  <a:cubicBezTo>
                    <a:pt x="651982" y="85441"/>
                    <a:pt x="627664" y="95300"/>
                    <a:pt x="606632" y="119618"/>
                  </a:cubicBezTo>
                  <a:lnTo>
                    <a:pt x="605318" y="92671"/>
                  </a:lnTo>
                  <a:lnTo>
                    <a:pt x="513962" y="92671"/>
                  </a:lnTo>
                  <a:lnTo>
                    <a:pt x="513962" y="337821"/>
                  </a:lnTo>
                  <a:lnTo>
                    <a:pt x="606632" y="337821"/>
                  </a:lnTo>
                  <a:lnTo>
                    <a:pt x="606632" y="197172"/>
                  </a:lnTo>
                  <a:cubicBezTo>
                    <a:pt x="606632" y="194543"/>
                    <a:pt x="600717" y="143935"/>
                    <a:pt x="646724" y="143935"/>
                  </a:cubicBezTo>
                  <a:cubicBezTo>
                    <a:pt x="675643" y="143935"/>
                    <a:pt x="681558" y="169568"/>
                    <a:pt x="682215" y="193886"/>
                  </a:cubicBezTo>
                  <a:lnTo>
                    <a:pt x="682215" y="337821"/>
                  </a:lnTo>
                  <a:lnTo>
                    <a:pt x="774886" y="337821"/>
                  </a:lnTo>
                  <a:lnTo>
                    <a:pt x="774886" y="173511"/>
                  </a:lnTo>
                  <a:cubicBezTo>
                    <a:pt x="774886" y="119618"/>
                    <a:pt x="736109" y="85441"/>
                    <a:pt x="683529" y="85441"/>
                  </a:cubicBezTo>
                  <a:close/>
                  <a:moveTo>
                    <a:pt x="815635" y="260924"/>
                  </a:moveTo>
                  <a:cubicBezTo>
                    <a:pt x="811034" y="336507"/>
                    <a:pt x="849154" y="345051"/>
                    <a:pt x="912249" y="345051"/>
                  </a:cubicBezTo>
                  <a:cubicBezTo>
                    <a:pt x="926051" y="345051"/>
                    <a:pt x="941167" y="344394"/>
                    <a:pt x="962199" y="340450"/>
                  </a:cubicBezTo>
                  <a:lnTo>
                    <a:pt x="962199" y="285242"/>
                  </a:lnTo>
                  <a:cubicBezTo>
                    <a:pt x="951683" y="286556"/>
                    <a:pt x="938538" y="286556"/>
                    <a:pt x="926708" y="286556"/>
                  </a:cubicBezTo>
                  <a:cubicBezTo>
                    <a:pt x="905019" y="286556"/>
                    <a:pt x="908963" y="255009"/>
                    <a:pt x="908963" y="248437"/>
                  </a:cubicBezTo>
                  <a:lnTo>
                    <a:pt x="908963" y="151165"/>
                  </a:lnTo>
                  <a:lnTo>
                    <a:pt x="962856" y="151165"/>
                  </a:lnTo>
                  <a:lnTo>
                    <a:pt x="962856" y="93328"/>
                  </a:lnTo>
                  <a:lnTo>
                    <a:pt x="908963" y="93328"/>
                  </a:lnTo>
                  <a:lnTo>
                    <a:pt x="908963" y="0"/>
                  </a:lnTo>
                  <a:lnTo>
                    <a:pt x="816292" y="120932"/>
                  </a:lnTo>
                  <a:lnTo>
                    <a:pt x="815635" y="260924"/>
                  </a:lnTo>
                  <a:close/>
                  <a:moveTo>
                    <a:pt x="1097591" y="92671"/>
                  </a:moveTo>
                  <a:lnTo>
                    <a:pt x="1006234" y="92671"/>
                  </a:lnTo>
                  <a:lnTo>
                    <a:pt x="1006234" y="337821"/>
                  </a:lnTo>
                  <a:lnTo>
                    <a:pt x="1098905" y="337821"/>
                  </a:lnTo>
                  <a:lnTo>
                    <a:pt x="1098905" y="239235"/>
                  </a:lnTo>
                  <a:cubicBezTo>
                    <a:pt x="1097591" y="192571"/>
                    <a:pt x="1114022" y="163653"/>
                    <a:pt x="1162657" y="162995"/>
                  </a:cubicBezTo>
                  <a:cubicBezTo>
                    <a:pt x="1169230" y="162995"/>
                    <a:pt x="1175145" y="162995"/>
                    <a:pt x="1182374" y="163653"/>
                  </a:cubicBezTo>
                  <a:lnTo>
                    <a:pt x="1182374" y="85441"/>
                  </a:lnTo>
                  <a:cubicBezTo>
                    <a:pt x="1141626" y="84784"/>
                    <a:pt x="1110735" y="97929"/>
                    <a:pt x="1100219" y="138678"/>
                  </a:cubicBezTo>
                  <a:lnTo>
                    <a:pt x="1099562" y="138678"/>
                  </a:lnTo>
                  <a:lnTo>
                    <a:pt x="1097591" y="92671"/>
                  </a:lnTo>
                  <a:close/>
                  <a:moveTo>
                    <a:pt x="1338140" y="85441"/>
                  </a:moveTo>
                  <a:cubicBezTo>
                    <a:pt x="1261243" y="85441"/>
                    <a:pt x="1195519" y="124876"/>
                    <a:pt x="1195519" y="215575"/>
                  </a:cubicBezTo>
                  <a:cubicBezTo>
                    <a:pt x="1195519" y="306274"/>
                    <a:pt x="1261243" y="345708"/>
                    <a:pt x="1338140" y="345708"/>
                  </a:cubicBezTo>
                  <a:cubicBezTo>
                    <a:pt x="1415037" y="345708"/>
                    <a:pt x="1480761" y="306274"/>
                    <a:pt x="1480761" y="215575"/>
                  </a:cubicBezTo>
                  <a:cubicBezTo>
                    <a:pt x="1480761" y="124876"/>
                    <a:pt x="1414380" y="85441"/>
                    <a:pt x="1338140" y="85441"/>
                  </a:cubicBezTo>
                  <a:close/>
                  <a:moveTo>
                    <a:pt x="1290819" y="215575"/>
                  </a:moveTo>
                  <a:cubicBezTo>
                    <a:pt x="1290819" y="180741"/>
                    <a:pt x="1299363" y="139335"/>
                    <a:pt x="1338140" y="139335"/>
                  </a:cubicBezTo>
                  <a:cubicBezTo>
                    <a:pt x="1376917" y="139335"/>
                    <a:pt x="1385461" y="180741"/>
                    <a:pt x="1385461" y="215575"/>
                  </a:cubicBezTo>
                  <a:cubicBezTo>
                    <a:pt x="1385461" y="250408"/>
                    <a:pt x="1376917" y="291814"/>
                    <a:pt x="1338140" y="291814"/>
                  </a:cubicBezTo>
                  <a:cubicBezTo>
                    <a:pt x="1298706" y="291814"/>
                    <a:pt x="1290819" y="250408"/>
                    <a:pt x="1290819" y="215575"/>
                  </a:cubicBezTo>
                  <a:close/>
                  <a:moveTo>
                    <a:pt x="1678590" y="85441"/>
                  </a:moveTo>
                  <a:cubicBezTo>
                    <a:pt x="1647043" y="85441"/>
                    <a:pt x="1622725" y="95300"/>
                    <a:pt x="1601693" y="119618"/>
                  </a:cubicBezTo>
                  <a:lnTo>
                    <a:pt x="1600379" y="92671"/>
                  </a:lnTo>
                  <a:lnTo>
                    <a:pt x="1509023" y="92671"/>
                  </a:lnTo>
                  <a:lnTo>
                    <a:pt x="1509023" y="337821"/>
                  </a:lnTo>
                  <a:lnTo>
                    <a:pt x="1601693" y="337821"/>
                  </a:lnTo>
                  <a:lnTo>
                    <a:pt x="1601693" y="197829"/>
                  </a:lnTo>
                  <a:cubicBezTo>
                    <a:pt x="1601693" y="195200"/>
                    <a:pt x="1595778" y="144593"/>
                    <a:pt x="1641785" y="144593"/>
                  </a:cubicBezTo>
                  <a:cubicBezTo>
                    <a:pt x="1670704" y="144593"/>
                    <a:pt x="1676619" y="170225"/>
                    <a:pt x="1677276" y="194543"/>
                  </a:cubicBezTo>
                  <a:lnTo>
                    <a:pt x="1677276" y="338478"/>
                  </a:lnTo>
                  <a:lnTo>
                    <a:pt x="1769947" y="338478"/>
                  </a:lnTo>
                  <a:lnTo>
                    <a:pt x="1769947" y="174169"/>
                  </a:lnTo>
                  <a:cubicBezTo>
                    <a:pt x="1770604" y="119618"/>
                    <a:pt x="1731170" y="85441"/>
                    <a:pt x="1678590" y="85441"/>
                  </a:cubicBezTo>
                  <a:close/>
                </a:path>
              </a:pathLst>
            </a:custGeom>
            <a:grpFill/>
            <a:ln w="6540"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22418925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ent &amp; image">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3511957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Bildplatzhalter 27">
            <a:extLst>
              <a:ext uri="{FF2B5EF4-FFF2-40B4-BE49-F238E27FC236}">
                <a16:creationId xmlns:a16="http://schemas.microsoft.com/office/drawing/2014/main" id="{2227D67F-FE3B-68CC-E7FC-35B027BDAEBB}"/>
              </a:ext>
            </a:extLst>
          </p:cNvPr>
          <p:cNvSpPr>
            <a:spLocks noGrp="1"/>
          </p:cNvSpPr>
          <p:nvPr>
            <p:ph type="pic" sz="quarter" idx="17" hasCustomPrompt="1"/>
          </p:nvPr>
        </p:nvSpPr>
        <p:spPr>
          <a:xfrm>
            <a:off x="5627688" y="0"/>
            <a:ext cx="6563966" cy="6858000"/>
          </a:xfrm>
          <a:custGeom>
            <a:avLst/>
            <a:gdLst>
              <a:gd name="connsiteX0" fmla="*/ 5507776 w 6563966"/>
              <a:gd name="connsiteY0" fmla="*/ 560333 h 6858000"/>
              <a:gd name="connsiteX1" fmla="*/ 5547360 w 6563966"/>
              <a:gd name="connsiteY1" fmla="*/ 625451 h 6858000"/>
              <a:gd name="connsiteX2" fmla="*/ 5507776 w 6563966"/>
              <a:gd name="connsiteY2" fmla="*/ 690568 h 6858000"/>
              <a:gd name="connsiteX3" fmla="*/ 5468192 w 6563966"/>
              <a:gd name="connsiteY3" fmla="*/ 625451 h 6858000"/>
              <a:gd name="connsiteX4" fmla="*/ 5507776 w 6563966"/>
              <a:gd name="connsiteY4" fmla="*/ 560333 h 6858000"/>
              <a:gd name="connsiteX5" fmla="*/ 4671563 w 6563966"/>
              <a:gd name="connsiteY5" fmla="*/ 560333 h 6858000"/>
              <a:gd name="connsiteX6" fmla="*/ 4711147 w 6563966"/>
              <a:gd name="connsiteY6" fmla="*/ 625451 h 6858000"/>
              <a:gd name="connsiteX7" fmla="*/ 4671563 w 6563966"/>
              <a:gd name="connsiteY7" fmla="*/ 690568 h 6858000"/>
              <a:gd name="connsiteX8" fmla="*/ 4631979 w 6563966"/>
              <a:gd name="connsiteY8" fmla="*/ 625451 h 6858000"/>
              <a:gd name="connsiteX9" fmla="*/ 4671563 w 6563966"/>
              <a:gd name="connsiteY9" fmla="*/ 560333 h 6858000"/>
              <a:gd name="connsiteX10" fmla="*/ 5792561 w 6563966"/>
              <a:gd name="connsiteY10" fmla="*/ 514302 h 6858000"/>
              <a:gd name="connsiteX11" fmla="*/ 5728237 w 6563966"/>
              <a:gd name="connsiteY11" fmla="*/ 543493 h 6858000"/>
              <a:gd name="connsiteX12" fmla="*/ 5727138 w 6563966"/>
              <a:gd name="connsiteY12" fmla="*/ 520477 h 6858000"/>
              <a:gd name="connsiteX13" fmla="*/ 5650719 w 6563966"/>
              <a:gd name="connsiteY13" fmla="*/ 520477 h 6858000"/>
              <a:gd name="connsiteX14" fmla="*/ 5650719 w 6563966"/>
              <a:gd name="connsiteY14" fmla="*/ 729864 h 6858000"/>
              <a:gd name="connsiteX15" fmla="*/ 5728237 w 6563966"/>
              <a:gd name="connsiteY15" fmla="*/ 729864 h 6858000"/>
              <a:gd name="connsiteX16" fmla="*/ 5728237 w 6563966"/>
              <a:gd name="connsiteY16" fmla="*/ 610294 h 6858000"/>
              <a:gd name="connsiteX17" fmla="*/ 5761774 w 6563966"/>
              <a:gd name="connsiteY17" fmla="*/ 564824 h 6858000"/>
              <a:gd name="connsiteX18" fmla="*/ 5791462 w 6563966"/>
              <a:gd name="connsiteY18" fmla="*/ 607487 h 6858000"/>
              <a:gd name="connsiteX19" fmla="*/ 5791462 w 6563966"/>
              <a:gd name="connsiteY19" fmla="*/ 730425 h 6858000"/>
              <a:gd name="connsiteX20" fmla="*/ 5868981 w 6563966"/>
              <a:gd name="connsiteY20" fmla="*/ 730425 h 6858000"/>
              <a:gd name="connsiteX21" fmla="*/ 5868981 w 6563966"/>
              <a:gd name="connsiteY21" fmla="*/ 590086 h 6858000"/>
              <a:gd name="connsiteX22" fmla="*/ 5792561 w 6563966"/>
              <a:gd name="connsiteY22" fmla="*/ 514302 h 6858000"/>
              <a:gd name="connsiteX23" fmla="*/ 5507776 w 6563966"/>
              <a:gd name="connsiteY23" fmla="*/ 514302 h 6858000"/>
              <a:gd name="connsiteX24" fmla="*/ 5388474 w 6563966"/>
              <a:gd name="connsiteY24" fmla="*/ 625451 h 6858000"/>
              <a:gd name="connsiteX25" fmla="*/ 5507776 w 6563966"/>
              <a:gd name="connsiteY25" fmla="*/ 736600 h 6858000"/>
              <a:gd name="connsiteX26" fmla="*/ 5627078 w 6563966"/>
              <a:gd name="connsiteY26" fmla="*/ 625451 h 6858000"/>
              <a:gd name="connsiteX27" fmla="*/ 5507776 w 6563966"/>
              <a:gd name="connsiteY27" fmla="*/ 514302 h 6858000"/>
              <a:gd name="connsiteX28" fmla="*/ 5377478 w 6563966"/>
              <a:gd name="connsiteY28" fmla="*/ 514302 h 6858000"/>
              <a:gd name="connsiteX29" fmla="*/ 5308756 w 6563966"/>
              <a:gd name="connsiteY29" fmla="*/ 559772 h 6858000"/>
              <a:gd name="connsiteX30" fmla="*/ 5308207 w 6563966"/>
              <a:gd name="connsiteY30" fmla="*/ 559772 h 6858000"/>
              <a:gd name="connsiteX31" fmla="*/ 5306558 w 6563966"/>
              <a:gd name="connsiteY31" fmla="*/ 520477 h 6858000"/>
              <a:gd name="connsiteX32" fmla="*/ 5230138 w 6563966"/>
              <a:gd name="connsiteY32" fmla="*/ 520477 h 6858000"/>
              <a:gd name="connsiteX33" fmla="*/ 5230138 w 6563966"/>
              <a:gd name="connsiteY33" fmla="*/ 729864 h 6858000"/>
              <a:gd name="connsiteX34" fmla="*/ 5307657 w 6563966"/>
              <a:gd name="connsiteY34" fmla="*/ 729864 h 6858000"/>
              <a:gd name="connsiteX35" fmla="*/ 5307657 w 6563966"/>
              <a:gd name="connsiteY35" fmla="*/ 645660 h 6858000"/>
              <a:gd name="connsiteX36" fmla="*/ 5360985 w 6563966"/>
              <a:gd name="connsiteY36" fmla="*/ 580542 h 6858000"/>
              <a:gd name="connsiteX37" fmla="*/ 5377478 w 6563966"/>
              <a:gd name="connsiteY37" fmla="*/ 581104 h 6858000"/>
              <a:gd name="connsiteX38" fmla="*/ 4960196 w 6563966"/>
              <a:gd name="connsiteY38" fmla="*/ 514302 h 6858000"/>
              <a:gd name="connsiteX39" fmla="*/ 4895872 w 6563966"/>
              <a:gd name="connsiteY39" fmla="*/ 543493 h 6858000"/>
              <a:gd name="connsiteX40" fmla="*/ 4894773 w 6563966"/>
              <a:gd name="connsiteY40" fmla="*/ 520477 h 6858000"/>
              <a:gd name="connsiteX41" fmla="*/ 4818354 w 6563966"/>
              <a:gd name="connsiteY41" fmla="*/ 520477 h 6858000"/>
              <a:gd name="connsiteX42" fmla="*/ 4818354 w 6563966"/>
              <a:gd name="connsiteY42" fmla="*/ 729864 h 6858000"/>
              <a:gd name="connsiteX43" fmla="*/ 4895872 w 6563966"/>
              <a:gd name="connsiteY43" fmla="*/ 729864 h 6858000"/>
              <a:gd name="connsiteX44" fmla="*/ 4895872 w 6563966"/>
              <a:gd name="connsiteY44" fmla="*/ 609733 h 6858000"/>
              <a:gd name="connsiteX45" fmla="*/ 4929409 w 6563966"/>
              <a:gd name="connsiteY45" fmla="*/ 564262 h 6858000"/>
              <a:gd name="connsiteX46" fmla="*/ 4959097 w 6563966"/>
              <a:gd name="connsiteY46" fmla="*/ 606926 h 6858000"/>
              <a:gd name="connsiteX47" fmla="*/ 4959097 w 6563966"/>
              <a:gd name="connsiteY47" fmla="*/ 729864 h 6858000"/>
              <a:gd name="connsiteX48" fmla="*/ 5036616 w 6563966"/>
              <a:gd name="connsiteY48" fmla="*/ 729864 h 6858000"/>
              <a:gd name="connsiteX49" fmla="*/ 5036616 w 6563966"/>
              <a:gd name="connsiteY49" fmla="*/ 589524 h 6858000"/>
              <a:gd name="connsiteX50" fmla="*/ 4960196 w 6563966"/>
              <a:gd name="connsiteY50" fmla="*/ 514302 h 6858000"/>
              <a:gd name="connsiteX51" fmla="*/ 4671563 w 6563966"/>
              <a:gd name="connsiteY51" fmla="*/ 514302 h 6858000"/>
              <a:gd name="connsiteX52" fmla="*/ 4552261 w 6563966"/>
              <a:gd name="connsiteY52" fmla="*/ 625451 h 6858000"/>
              <a:gd name="connsiteX53" fmla="*/ 4671563 w 6563966"/>
              <a:gd name="connsiteY53" fmla="*/ 736600 h 6858000"/>
              <a:gd name="connsiteX54" fmla="*/ 4790865 w 6563966"/>
              <a:gd name="connsiteY54" fmla="*/ 625451 h 6858000"/>
              <a:gd name="connsiteX55" fmla="*/ 4671563 w 6563966"/>
              <a:gd name="connsiteY55" fmla="*/ 514302 h 6858000"/>
              <a:gd name="connsiteX56" fmla="*/ 5148771 w 6563966"/>
              <a:gd name="connsiteY56" fmla="*/ 441325 h 6858000"/>
              <a:gd name="connsiteX57" fmla="*/ 5071252 w 6563966"/>
              <a:gd name="connsiteY57" fmla="*/ 544615 h 6858000"/>
              <a:gd name="connsiteX58" fmla="*/ 5070703 w 6563966"/>
              <a:gd name="connsiteY58" fmla="*/ 664185 h 6858000"/>
              <a:gd name="connsiteX59" fmla="*/ 5151520 w 6563966"/>
              <a:gd name="connsiteY59" fmla="*/ 736039 h 6858000"/>
              <a:gd name="connsiteX60" fmla="*/ 5193303 w 6563966"/>
              <a:gd name="connsiteY60" fmla="*/ 732109 h 6858000"/>
              <a:gd name="connsiteX61" fmla="*/ 5193303 w 6563966"/>
              <a:gd name="connsiteY61" fmla="*/ 684955 h 6858000"/>
              <a:gd name="connsiteX62" fmla="*/ 5163615 w 6563966"/>
              <a:gd name="connsiteY62" fmla="*/ 686077 h 6858000"/>
              <a:gd name="connsiteX63" fmla="*/ 5148771 w 6563966"/>
              <a:gd name="connsiteY63" fmla="*/ 653519 h 6858000"/>
              <a:gd name="connsiteX64" fmla="*/ 5148771 w 6563966"/>
              <a:gd name="connsiteY64" fmla="*/ 570438 h 6858000"/>
              <a:gd name="connsiteX65" fmla="*/ 5193852 w 6563966"/>
              <a:gd name="connsiteY65" fmla="*/ 570438 h 6858000"/>
              <a:gd name="connsiteX66" fmla="*/ 5193852 w 6563966"/>
              <a:gd name="connsiteY66" fmla="*/ 521038 h 6858000"/>
              <a:gd name="connsiteX67" fmla="*/ 5148771 w 6563966"/>
              <a:gd name="connsiteY67" fmla="*/ 521038 h 6858000"/>
              <a:gd name="connsiteX68" fmla="*/ 4310909 w 6563966"/>
              <a:gd name="connsiteY68" fmla="*/ 441325 h 6858000"/>
              <a:gd name="connsiteX69" fmla="*/ 4310909 w 6563966"/>
              <a:gd name="connsiteY69" fmla="*/ 730425 h 6858000"/>
              <a:gd name="connsiteX70" fmla="*/ 4388428 w 6563966"/>
              <a:gd name="connsiteY70" fmla="*/ 627136 h 6858000"/>
              <a:gd name="connsiteX71" fmla="*/ 4459348 w 6563966"/>
              <a:gd name="connsiteY71" fmla="*/ 730425 h 6858000"/>
              <a:gd name="connsiteX72" fmla="*/ 4551162 w 6563966"/>
              <a:gd name="connsiteY72" fmla="*/ 730425 h 6858000"/>
              <a:gd name="connsiteX73" fmla="*/ 4471443 w 6563966"/>
              <a:gd name="connsiteY73" fmla="*/ 627135 h 6858000"/>
              <a:gd name="connsiteX74" fmla="*/ 4552811 w 6563966"/>
              <a:gd name="connsiteY74" fmla="*/ 520477 h 6858000"/>
              <a:gd name="connsiteX75" fmla="*/ 4468145 w 6563966"/>
              <a:gd name="connsiteY75" fmla="*/ 521038 h 6858000"/>
              <a:gd name="connsiteX76" fmla="*/ 4388428 w 6563966"/>
              <a:gd name="connsiteY76" fmla="*/ 627133 h 6858000"/>
              <a:gd name="connsiteX77" fmla="*/ 4388428 w 6563966"/>
              <a:gd name="connsiteY77" fmla="*/ 441325 h 6858000"/>
              <a:gd name="connsiteX78" fmla="*/ 1495989 w 6563966"/>
              <a:gd name="connsiteY78" fmla="*/ 0 h 6858000"/>
              <a:gd name="connsiteX79" fmla="*/ 6563966 w 6563966"/>
              <a:gd name="connsiteY79" fmla="*/ 0 h 6858000"/>
              <a:gd name="connsiteX80" fmla="*/ 6563966 w 6563966"/>
              <a:gd name="connsiteY80" fmla="*/ 6858000 h 6858000"/>
              <a:gd name="connsiteX81" fmla="*/ 3341815 w 6563966"/>
              <a:gd name="connsiteY81" fmla="*/ 6858000 h 6858000"/>
              <a:gd name="connsiteX82" fmla="*/ 0 w 6563966"/>
              <a:gd name="connsiteY82" fmla="*/ 19910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6563966" h="6858000">
                <a:moveTo>
                  <a:pt x="5507776" y="560333"/>
                </a:moveTo>
                <a:cubicBezTo>
                  <a:pt x="5540213" y="560333"/>
                  <a:pt x="5547360" y="595699"/>
                  <a:pt x="5547360" y="625451"/>
                </a:cubicBezTo>
                <a:cubicBezTo>
                  <a:pt x="5547360" y="655203"/>
                  <a:pt x="5540213" y="690568"/>
                  <a:pt x="5507776" y="690568"/>
                </a:cubicBezTo>
                <a:cubicBezTo>
                  <a:pt x="5474790" y="690568"/>
                  <a:pt x="5468192" y="655203"/>
                  <a:pt x="5468192" y="625451"/>
                </a:cubicBezTo>
                <a:cubicBezTo>
                  <a:pt x="5468192" y="595699"/>
                  <a:pt x="5475339" y="560333"/>
                  <a:pt x="5507776" y="560333"/>
                </a:cubicBezTo>
                <a:close/>
                <a:moveTo>
                  <a:pt x="4671563" y="560333"/>
                </a:moveTo>
                <a:cubicBezTo>
                  <a:pt x="4704000" y="560333"/>
                  <a:pt x="4711147" y="595699"/>
                  <a:pt x="4711147" y="625451"/>
                </a:cubicBezTo>
                <a:cubicBezTo>
                  <a:pt x="4711147" y="655203"/>
                  <a:pt x="4704000" y="690568"/>
                  <a:pt x="4671563" y="690568"/>
                </a:cubicBezTo>
                <a:cubicBezTo>
                  <a:pt x="4639126" y="690568"/>
                  <a:pt x="4631979" y="655203"/>
                  <a:pt x="4631979" y="625451"/>
                </a:cubicBezTo>
                <a:cubicBezTo>
                  <a:pt x="4631979" y="595699"/>
                  <a:pt x="4639126" y="560333"/>
                  <a:pt x="4671563" y="560333"/>
                </a:cubicBezTo>
                <a:close/>
                <a:moveTo>
                  <a:pt x="5792561" y="514302"/>
                </a:moveTo>
                <a:cubicBezTo>
                  <a:pt x="5766172" y="514302"/>
                  <a:pt x="5745830" y="522722"/>
                  <a:pt x="5728237" y="543493"/>
                </a:cubicBezTo>
                <a:lnTo>
                  <a:pt x="5727138" y="520477"/>
                </a:lnTo>
                <a:lnTo>
                  <a:pt x="5650719" y="520477"/>
                </a:lnTo>
                <a:lnTo>
                  <a:pt x="5650719" y="729864"/>
                </a:lnTo>
                <a:lnTo>
                  <a:pt x="5728237" y="729864"/>
                </a:lnTo>
                <a:lnTo>
                  <a:pt x="5728237" y="610294"/>
                </a:lnTo>
                <a:cubicBezTo>
                  <a:pt x="5728237" y="608049"/>
                  <a:pt x="5723289" y="564824"/>
                  <a:pt x="5761774" y="564824"/>
                </a:cubicBezTo>
                <a:cubicBezTo>
                  <a:pt x="5785965" y="564824"/>
                  <a:pt x="5790913" y="586717"/>
                  <a:pt x="5791462" y="607487"/>
                </a:cubicBezTo>
                <a:lnTo>
                  <a:pt x="5791462" y="730425"/>
                </a:lnTo>
                <a:lnTo>
                  <a:pt x="5868981" y="730425"/>
                </a:lnTo>
                <a:lnTo>
                  <a:pt x="5868981" y="590086"/>
                </a:lnTo>
                <a:cubicBezTo>
                  <a:pt x="5869531" y="543493"/>
                  <a:pt x="5836544" y="514302"/>
                  <a:pt x="5792561" y="514302"/>
                </a:cubicBezTo>
                <a:close/>
                <a:moveTo>
                  <a:pt x="5507776" y="514302"/>
                </a:moveTo>
                <a:cubicBezTo>
                  <a:pt x="5443452" y="514302"/>
                  <a:pt x="5388474" y="547984"/>
                  <a:pt x="5388474" y="625451"/>
                </a:cubicBezTo>
                <a:cubicBezTo>
                  <a:pt x="5388474" y="702919"/>
                  <a:pt x="5443452" y="736600"/>
                  <a:pt x="5507776" y="736600"/>
                </a:cubicBezTo>
                <a:cubicBezTo>
                  <a:pt x="5572100" y="736600"/>
                  <a:pt x="5627078" y="702919"/>
                  <a:pt x="5627078" y="625451"/>
                </a:cubicBezTo>
                <a:cubicBezTo>
                  <a:pt x="5627078" y="547984"/>
                  <a:pt x="5571551" y="514302"/>
                  <a:pt x="5507776" y="514302"/>
                </a:cubicBezTo>
                <a:close/>
                <a:moveTo>
                  <a:pt x="5377478" y="514302"/>
                </a:moveTo>
                <a:cubicBezTo>
                  <a:pt x="5343393" y="513740"/>
                  <a:pt x="5317553" y="524968"/>
                  <a:pt x="5308756" y="559772"/>
                </a:cubicBezTo>
                <a:lnTo>
                  <a:pt x="5308207" y="559772"/>
                </a:lnTo>
                <a:lnTo>
                  <a:pt x="5306558" y="520477"/>
                </a:lnTo>
                <a:lnTo>
                  <a:pt x="5230138" y="520477"/>
                </a:lnTo>
                <a:lnTo>
                  <a:pt x="5230138" y="729864"/>
                </a:lnTo>
                <a:lnTo>
                  <a:pt x="5307657" y="729864"/>
                </a:lnTo>
                <a:lnTo>
                  <a:pt x="5307657" y="645660"/>
                </a:lnTo>
                <a:cubicBezTo>
                  <a:pt x="5306558" y="605803"/>
                  <a:pt x="5320302" y="581104"/>
                  <a:pt x="5360985" y="580542"/>
                </a:cubicBezTo>
                <a:cubicBezTo>
                  <a:pt x="5366484" y="580542"/>
                  <a:pt x="5371431" y="580542"/>
                  <a:pt x="5377478" y="581104"/>
                </a:cubicBezTo>
                <a:close/>
                <a:moveTo>
                  <a:pt x="4960196" y="514302"/>
                </a:moveTo>
                <a:cubicBezTo>
                  <a:pt x="4933808" y="514302"/>
                  <a:pt x="4913466" y="522722"/>
                  <a:pt x="4895872" y="543493"/>
                </a:cubicBezTo>
                <a:lnTo>
                  <a:pt x="4894773" y="520477"/>
                </a:lnTo>
                <a:lnTo>
                  <a:pt x="4818354" y="520477"/>
                </a:lnTo>
                <a:lnTo>
                  <a:pt x="4818354" y="729864"/>
                </a:lnTo>
                <a:lnTo>
                  <a:pt x="4895872" y="729864"/>
                </a:lnTo>
                <a:lnTo>
                  <a:pt x="4895872" y="609733"/>
                </a:lnTo>
                <a:cubicBezTo>
                  <a:pt x="4895872" y="607487"/>
                  <a:pt x="4890925" y="564262"/>
                  <a:pt x="4929409" y="564262"/>
                </a:cubicBezTo>
                <a:cubicBezTo>
                  <a:pt x="4953600" y="564262"/>
                  <a:pt x="4958548" y="586156"/>
                  <a:pt x="4959097" y="606926"/>
                </a:cubicBezTo>
                <a:lnTo>
                  <a:pt x="4959097" y="729864"/>
                </a:lnTo>
                <a:lnTo>
                  <a:pt x="5036616" y="729864"/>
                </a:lnTo>
                <a:lnTo>
                  <a:pt x="5036616" y="589524"/>
                </a:lnTo>
                <a:cubicBezTo>
                  <a:pt x="5036616" y="543493"/>
                  <a:pt x="5004179" y="514302"/>
                  <a:pt x="4960196" y="514302"/>
                </a:cubicBezTo>
                <a:close/>
                <a:moveTo>
                  <a:pt x="4671563" y="514302"/>
                </a:moveTo>
                <a:cubicBezTo>
                  <a:pt x="4607239" y="514302"/>
                  <a:pt x="4552261" y="547984"/>
                  <a:pt x="4552261" y="625451"/>
                </a:cubicBezTo>
                <a:cubicBezTo>
                  <a:pt x="4552261" y="702919"/>
                  <a:pt x="4607239" y="736600"/>
                  <a:pt x="4671563" y="736600"/>
                </a:cubicBezTo>
                <a:cubicBezTo>
                  <a:pt x="4735888" y="736600"/>
                  <a:pt x="4790865" y="702919"/>
                  <a:pt x="4790865" y="625451"/>
                </a:cubicBezTo>
                <a:cubicBezTo>
                  <a:pt x="4791415" y="548545"/>
                  <a:pt x="4735888" y="514302"/>
                  <a:pt x="4671563" y="514302"/>
                </a:cubicBezTo>
                <a:close/>
                <a:moveTo>
                  <a:pt x="5148771" y="441325"/>
                </a:moveTo>
                <a:lnTo>
                  <a:pt x="5071252" y="544615"/>
                </a:lnTo>
                <a:lnTo>
                  <a:pt x="5070703" y="664185"/>
                </a:lnTo>
                <a:cubicBezTo>
                  <a:pt x="5066854" y="728741"/>
                  <a:pt x="5098741" y="736039"/>
                  <a:pt x="5151520" y="736039"/>
                </a:cubicBezTo>
                <a:cubicBezTo>
                  <a:pt x="5163065" y="736039"/>
                  <a:pt x="5175710" y="735478"/>
                  <a:pt x="5193303" y="732109"/>
                </a:cubicBezTo>
                <a:lnTo>
                  <a:pt x="5193303" y="684955"/>
                </a:lnTo>
                <a:cubicBezTo>
                  <a:pt x="5184506" y="686077"/>
                  <a:pt x="5173511" y="686077"/>
                  <a:pt x="5163615" y="686077"/>
                </a:cubicBezTo>
                <a:cubicBezTo>
                  <a:pt x="5145472" y="686077"/>
                  <a:pt x="5148771" y="659133"/>
                  <a:pt x="5148771" y="653519"/>
                </a:cubicBezTo>
                <a:lnTo>
                  <a:pt x="5148771" y="570438"/>
                </a:lnTo>
                <a:lnTo>
                  <a:pt x="5193852" y="570438"/>
                </a:lnTo>
                <a:lnTo>
                  <a:pt x="5193852" y="521038"/>
                </a:lnTo>
                <a:lnTo>
                  <a:pt x="5148771" y="521038"/>
                </a:lnTo>
                <a:close/>
                <a:moveTo>
                  <a:pt x="4310909" y="441325"/>
                </a:moveTo>
                <a:lnTo>
                  <a:pt x="4310909" y="730425"/>
                </a:lnTo>
                <a:lnTo>
                  <a:pt x="4388428" y="627136"/>
                </a:lnTo>
                <a:lnTo>
                  <a:pt x="4459348" y="730425"/>
                </a:lnTo>
                <a:lnTo>
                  <a:pt x="4551162" y="730425"/>
                </a:lnTo>
                <a:lnTo>
                  <a:pt x="4471443" y="627135"/>
                </a:lnTo>
                <a:lnTo>
                  <a:pt x="4552811" y="520477"/>
                </a:lnTo>
                <a:lnTo>
                  <a:pt x="4468145" y="521038"/>
                </a:lnTo>
                <a:lnTo>
                  <a:pt x="4388428" y="627133"/>
                </a:lnTo>
                <a:lnTo>
                  <a:pt x="4388428" y="441325"/>
                </a:lnTo>
                <a:close/>
                <a:moveTo>
                  <a:pt x="1495989" y="0"/>
                </a:moveTo>
                <a:lnTo>
                  <a:pt x="6563966" y="0"/>
                </a:lnTo>
                <a:lnTo>
                  <a:pt x="6563966" y="6858000"/>
                </a:lnTo>
                <a:lnTo>
                  <a:pt x="3341815" y="6858000"/>
                </a:lnTo>
                <a:lnTo>
                  <a:pt x="0" y="1991019"/>
                </a:lnTo>
                <a:close/>
              </a:path>
            </a:pathLst>
          </a:custGeom>
          <a:solidFill>
            <a:schemeClr val="bg2"/>
          </a:solidFill>
        </p:spPr>
        <p:txBody>
          <a:bodyPr wrap="square" lIns="144000" tIns="144000" rIns="144000">
            <a:noAutofit/>
          </a:bodyPr>
          <a:lstStyle>
            <a:lvl1pPr marL="0" indent="0" algn="r">
              <a:buNone/>
              <a:defRPr sz="1200"/>
            </a:lvl1pPr>
          </a:lstStyle>
          <a:p>
            <a:r>
              <a:rPr lang="en-US" dirty="0"/>
              <a:t>Please click on icon to insert image</a:t>
            </a:r>
          </a:p>
        </p:txBody>
      </p:sp>
      <p:sp>
        <p:nvSpPr>
          <p:cNvPr id="16" name="Inhaltsplatzhalter 15">
            <a:extLst>
              <a:ext uri="{FF2B5EF4-FFF2-40B4-BE49-F238E27FC236}">
                <a16:creationId xmlns:a16="http://schemas.microsoft.com/office/drawing/2014/main" id="{E9CA20AB-8DCB-36FF-A5AE-484D05943EAF}"/>
              </a:ext>
            </a:extLst>
          </p:cNvPr>
          <p:cNvSpPr>
            <a:spLocks noGrp="1"/>
          </p:cNvSpPr>
          <p:nvPr>
            <p:ph sz="quarter" idx="16" hasCustomPrompt="1"/>
          </p:nvPr>
        </p:nvSpPr>
        <p:spPr>
          <a:xfrm>
            <a:off x="695325" y="1628775"/>
            <a:ext cx="4497387" cy="4608513"/>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4" name="Titel 3">
            <a:extLst>
              <a:ext uri="{FF2B5EF4-FFF2-40B4-BE49-F238E27FC236}">
                <a16:creationId xmlns:a16="http://schemas.microsoft.com/office/drawing/2014/main" id="{AC983BDF-3D2F-A6BF-9B0A-CAF8AF5319A5}"/>
              </a:ext>
            </a:extLst>
          </p:cNvPr>
          <p:cNvSpPr>
            <a:spLocks noGrp="1"/>
          </p:cNvSpPr>
          <p:nvPr>
            <p:ph type="title" hasCustomPrompt="1"/>
          </p:nvPr>
        </p:nvSpPr>
        <p:spPr>
          <a:xfrm>
            <a:off x="695325" y="372268"/>
            <a:ext cx="4500563" cy="443198"/>
          </a:xfrm>
        </p:spPr>
        <p:txBody>
          <a:bodyPr vert="horz"/>
          <a:lstStyle/>
          <a:p>
            <a:r>
              <a:rPr lang="de-DE" dirty="0"/>
              <a:t>Title, Calibri </a:t>
            </a:r>
            <a:r>
              <a:rPr lang="de-DE" dirty="0" err="1"/>
              <a:t>Bold</a:t>
            </a:r>
            <a:r>
              <a:rPr lang="de-DE" dirty="0"/>
              <a:t>, 32pt</a:t>
            </a:r>
            <a:endParaRPr lang="en-US" dirty="0"/>
          </a:p>
        </p:txBody>
      </p:sp>
      <p:sp>
        <p:nvSpPr>
          <p:cNvPr id="5" name="Textplatzhalter 7">
            <a:extLst>
              <a:ext uri="{FF2B5EF4-FFF2-40B4-BE49-F238E27FC236}">
                <a16:creationId xmlns:a16="http://schemas.microsoft.com/office/drawing/2014/main" id="{A3D3127A-A812-A48E-2E34-459A068FDB5C}"/>
              </a:ext>
            </a:extLst>
          </p:cNvPr>
          <p:cNvSpPr>
            <a:spLocks noGrp="1"/>
          </p:cNvSpPr>
          <p:nvPr>
            <p:ph type="body" sz="quarter" idx="13" hasCustomPrompt="1"/>
          </p:nvPr>
        </p:nvSpPr>
        <p:spPr>
          <a:xfrm>
            <a:off x="695325" y="815466"/>
            <a:ext cx="4500742" cy="350838"/>
          </a:xfrm>
        </p:spPr>
        <p:txBody>
          <a:bodyPr>
            <a:noAutofit/>
          </a:bodyPr>
          <a:lstStyle>
            <a:lvl1pPr marL="0" indent="0">
              <a:buNone/>
              <a:defRPr sz="2400">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
        <p:nvSpPr>
          <p:cNvPr id="22" name="Fußzeilenplatzhalter 21">
            <a:extLst>
              <a:ext uri="{FF2B5EF4-FFF2-40B4-BE49-F238E27FC236}">
                <a16:creationId xmlns:a16="http://schemas.microsoft.com/office/drawing/2014/main" id="{F80F7B66-2040-B4A3-637B-5C313F134380}"/>
              </a:ext>
            </a:extLst>
          </p:cNvPr>
          <p:cNvSpPr>
            <a:spLocks noGrp="1"/>
          </p:cNvSpPr>
          <p:nvPr>
            <p:ph type="ftr" sz="quarter" idx="18"/>
          </p:nvPr>
        </p:nvSpPr>
        <p:spPr>
          <a:xfrm>
            <a:off x="695325" y="6561220"/>
            <a:ext cx="7089775" cy="184666"/>
          </a:xfrm>
        </p:spPr>
        <p:txBody>
          <a:bodyPr/>
          <a:lstStyle/>
          <a:p>
            <a:r>
              <a:rPr lang="en-US"/>
              <a:t>Footer</a:t>
            </a:r>
            <a:endParaRPr lang="en-US" dirty="0"/>
          </a:p>
        </p:txBody>
      </p:sp>
    </p:spTree>
    <p:extLst>
      <p:ext uri="{BB962C8B-B14F-4D97-AF65-F5344CB8AC3E}">
        <p14:creationId xmlns:p14="http://schemas.microsoft.com/office/powerpoint/2010/main" val="2477978377"/>
      </p:ext>
    </p:extLst>
  </p:cSld>
  <p:clrMapOvr>
    <a:masterClrMapping/>
  </p:clrMapOvr>
  <p:extLst>
    <p:ext uri="{DCECCB84-F9BA-43D5-87BE-67443E8EF086}">
      <p15:sldGuideLst xmlns:p15="http://schemas.microsoft.com/office/powerpoint/2012/main">
        <p15:guide id="1" pos="3545" userDrawn="1">
          <p15:clr>
            <a:srgbClr val="FBAE40"/>
          </p15:clr>
        </p15:guide>
        <p15:guide id="2" pos="3273"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Key message">
    <p:bg>
      <p:bgPr>
        <a:gradFill>
          <a:gsLst>
            <a:gs pos="11000">
              <a:schemeClr val="accent1"/>
            </a:gs>
            <a:gs pos="100000">
              <a:schemeClr val="accent3"/>
            </a:gs>
          </a:gsLst>
          <a:lin ang="18900000" scaled="0"/>
        </a:gra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C16F105-44A4-7C20-CFBB-745D8345FFDA}"/>
              </a:ext>
            </a:extLst>
          </p:cNvPr>
          <p:cNvGraphicFramePr>
            <a:graphicFrameLocks noChangeAspect="1"/>
          </p:cNvGraphicFramePr>
          <p:nvPr userDrawn="1">
            <p:custDataLst>
              <p:tags r:id="rId1"/>
            </p:custDataLst>
            <p:extLst>
              <p:ext uri="{D42A27DB-BD31-4B8C-83A1-F6EECF244321}">
                <p14:modId xmlns:p14="http://schemas.microsoft.com/office/powerpoint/2010/main" val="3473224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5" name="Objekt 4" hidden="1">
                        <a:extLst>
                          <a:ext uri="{FF2B5EF4-FFF2-40B4-BE49-F238E27FC236}">
                            <a16:creationId xmlns:a16="http://schemas.microsoft.com/office/drawing/2014/main" id="{6C16F105-44A4-7C20-CFBB-745D8345FF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Freihandform: Form 5">
            <a:extLst>
              <a:ext uri="{FF2B5EF4-FFF2-40B4-BE49-F238E27FC236}">
                <a16:creationId xmlns:a16="http://schemas.microsoft.com/office/drawing/2014/main" id="{B0773389-CEBB-EAB2-7F38-A9949B066E2A}"/>
              </a:ext>
            </a:extLst>
          </p:cNvPr>
          <p:cNvSpPr/>
          <p:nvPr userDrawn="1"/>
        </p:nvSpPr>
        <p:spPr>
          <a:xfrm flipH="1">
            <a:off x="1754125" y="0"/>
            <a:ext cx="7876733" cy="6858000"/>
          </a:xfrm>
          <a:custGeom>
            <a:avLst/>
            <a:gdLst>
              <a:gd name="connsiteX0" fmla="*/ 7876733 w 7876733"/>
              <a:gd name="connsiteY0" fmla="*/ 0 h 6858000"/>
              <a:gd name="connsiteX1" fmla="*/ 3352132 w 7876733"/>
              <a:gd name="connsiteY1" fmla="*/ 0 h 6858000"/>
              <a:gd name="connsiteX2" fmla="*/ 0 w 7876733"/>
              <a:gd name="connsiteY2" fmla="*/ 4461366 h 6858000"/>
              <a:gd name="connsiteX3" fmla="*/ 1645601 w 7876733"/>
              <a:gd name="connsiteY3" fmla="*/ 6858000 h 6858000"/>
              <a:gd name="connsiteX4" fmla="*/ 6322952 w 7876733"/>
              <a:gd name="connsiteY4" fmla="*/ 6858000 h 6858000"/>
              <a:gd name="connsiteX5" fmla="*/ 4473258 w 7876733"/>
              <a:gd name="connsiteY5" fmla="*/ 44613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6733" h="6858000">
                <a:moveTo>
                  <a:pt x="7876733" y="0"/>
                </a:moveTo>
                <a:lnTo>
                  <a:pt x="3352132" y="0"/>
                </a:lnTo>
                <a:lnTo>
                  <a:pt x="0" y="4461366"/>
                </a:lnTo>
                <a:lnTo>
                  <a:pt x="1645601" y="6858000"/>
                </a:lnTo>
                <a:lnTo>
                  <a:pt x="6322952" y="6858000"/>
                </a:lnTo>
                <a:lnTo>
                  <a:pt x="4473258" y="4461366"/>
                </a:lnTo>
                <a:close/>
              </a:path>
            </a:pathLst>
          </a:custGeom>
          <a:solidFill>
            <a:schemeClr val="bg2">
              <a:alpha val="5000"/>
            </a:schemeClr>
          </a:solidFill>
          <a:ln w="6540" cap="flat">
            <a:noFill/>
            <a:prstDash val="solid"/>
            <a:miter/>
          </a:ln>
        </p:spPr>
        <p:txBody>
          <a:bodyPr wrap="square" rtlCol="0" anchor="ctr">
            <a:noAutofit/>
          </a:bodyPr>
          <a:lstStyle/>
          <a:p>
            <a:pPr lvl="0"/>
            <a:endParaRPr lang="en-GB" dirty="0"/>
          </a:p>
        </p:txBody>
      </p:sp>
      <p:grpSp>
        <p:nvGrpSpPr>
          <p:cNvPr id="8" name="Gruppieren 7">
            <a:extLst>
              <a:ext uri="{FF2B5EF4-FFF2-40B4-BE49-F238E27FC236}">
                <a16:creationId xmlns:a16="http://schemas.microsoft.com/office/drawing/2014/main" id="{748D6721-1211-2C9B-2FA2-A51C8F9F5513}"/>
              </a:ext>
            </a:extLst>
          </p:cNvPr>
          <p:cNvGrpSpPr/>
          <p:nvPr userDrawn="1"/>
        </p:nvGrpSpPr>
        <p:grpSpPr>
          <a:xfrm>
            <a:off x="9938597" y="441325"/>
            <a:ext cx="1558078" cy="295275"/>
            <a:chOff x="9938597" y="441325"/>
            <a:chExt cx="1558078" cy="295275"/>
          </a:xfrm>
          <a:solidFill>
            <a:schemeClr val="bg2"/>
          </a:solidFill>
        </p:grpSpPr>
        <p:sp>
          <p:nvSpPr>
            <p:cNvPr id="9" name="Freeform: Shape 10">
              <a:extLst>
                <a:ext uri="{FF2B5EF4-FFF2-40B4-BE49-F238E27FC236}">
                  <a16:creationId xmlns:a16="http://schemas.microsoft.com/office/drawing/2014/main" id="{D0317194-07C3-8F56-7A5F-6192CC94F085}"/>
                </a:ext>
              </a:extLst>
            </p:cNvPr>
            <p:cNvSpPr/>
            <p:nvPr/>
          </p:nvSpPr>
          <p:spPr>
            <a:xfrm>
              <a:off x="9938597" y="441325"/>
              <a:ext cx="77518" cy="289100"/>
            </a:xfrm>
            <a:custGeom>
              <a:avLst/>
              <a:gdLst>
                <a:gd name="connsiteX0" fmla="*/ 92671 w 92670"/>
                <a:gd name="connsiteY0" fmla="*/ 0 h 338478"/>
                <a:gd name="connsiteX1" fmla="*/ 0 w 92670"/>
                <a:gd name="connsiteY1" fmla="*/ 0 h 338478"/>
                <a:gd name="connsiteX2" fmla="*/ 0 w 92670"/>
                <a:gd name="connsiteY2" fmla="*/ 338478 h 338478"/>
                <a:gd name="connsiteX3" fmla="*/ 92671 w 92670"/>
                <a:gd name="connsiteY3" fmla="*/ 217546 h 338478"/>
              </a:gdLst>
              <a:ahLst/>
              <a:cxnLst>
                <a:cxn ang="0">
                  <a:pos x="connsiteX0" y="connsiteY0"/>
                </a:cxn>
                <a:cxn ang="0">
                  <a:pos x="connsiteX1" y="connsiteY1"/>
                </a:cxn>
                <a:cxn ang="0">
                  <a:pos x="connsiteX2" y="connsiteY2"/>
                </a:cxn>
                <a:cxn ang="0">
                  <a:pos x="connsiteX3" y="connsiteY3"/>
                </a:cxn>
              </a:cxnLst>
              <a:rect l="l" t="t" r="r" b="b"/>
              <a:pathLst>
                <a:path w="92670" h="338478">
                  <a:moveTo>
                    <a:pt x="92671" y="0"/>
                  </a:moveTo>
                  <a:lnTo>
                    <a:pt x="0" y="0"/>
                  </a:lnTo>
                  <a:lnTo>
                    <a:pt x="0" y="338478"/>
                  </a:lnTo>
                  <a:lnTo>
                    <a:pt x="92671" y="217546"/>
                  </a:lnTo>
                  <a:close/>
                </a:path>
              </a:pathLst>
            </a:custGeom>
            <a:grpFill/>
            <a:ln w="6540" cap="flat">
              <a:noFill/>
              <a:prstDash val="solid"/>
              <a:miter/>
            </a:ln>
          </p:spPr>
          <p:txBody>
            <a:bodyPr rtlCol="0" anchor="ctr"/>
            <a:lstStyle/>
            <a:p>
              <a:endParaRPr lang="en-GB"/>
            </a:p>
          </p:txBody>
        </p:sp>
        <p:sp>
          <p:nvSpPr>
            <p:cNvPr id="10" name="Freeform: Shape 11">
              <a:extLst>
                <a:ext uri="{FF2B5EF4-FFF2-40B4-BE49-F238E27FC236}">
                  <a16:creationId xmlns:a16="http://schemas.microsoft.com/office/drawing/2014/main" id="{05712D71-19F8-BAF3-0C42-111DC7A3B198}"/>
                </a:ext>
              </a:extLst>
            </p:cNvPr>
            <p:cNvSpPr/>
            <p:nvPr/>
          </p:nvSpPr>
          <p:spPr>
            <a:xfrm>
              <a:off x="10016115" y="441325"/>
              <a:ext cx="1480560" cy="295275"/>
            </a:xfrm>
            <a:custGeom>
              <a:avLst/>
              <a:gdLst>
                <a:gd name="connsiteX0" fmla="*/ 196515 w 1769954"/>
                <a:gd name="connsiteY0" fmla="*/ 92671 h 345708"/>
                <a:gd name="connsiteX1" fmla="*/ 99243 w 1769954"/>
                <a:gd name="connsiteY1" fmla="*/ 217546 h 345708"/>
                <a:gd name="connsiteX2" fmla="*/ 194543 w 1769954"/>
                <a:gd name="connsiteY2" fmla="*/ 338478 h 345708"/>
                <a:gd name="connsiteX3" fmla="*/ 84784 w 1769954"/>
                <a:gd name="connsiteY3" fmla="*/ 338478 h 345708"/>
                <a:gd name="connsiteX4" fmla="*/ 0 w 1769954"/>
                <a:gd name="connsiteY4" fmla="*/ 217546 h 345708"/>
                <a:gd name="connsiteX5" fmla="*/ 95300 w 1769954"/>
                <a:gd name="connsiteY5" fmla="*/ 93328 h 345708"/>
                <a:gd name="connsiteX6" fmla="*/ 196515 w 1769954"/>
                <a:gd name="connsiteY6" fmla="*/ 92671 h 345708"/>
                <a:gd name="connsiteX7" fmla="*/ 338478 w 1769954"/>
                <a:gd name="connsiteY7" fmla="*/ 85441 h 345708"/>
                <a:gd name="connsiteX8" fmla="*/ 195857 w 1769954"/>
                <a:gd name="connsiteY8" fmla="*/ 215575 h 345708"/>
                <a:gd name="connsiteX9" fmla="*/ 338478 w 1769954"/>
                <a:gd name="connsiteY9" fmla="*/ 345708 h 345708"/>
                <a:gd name="connsiteX10" fmla="*/ 481100 w 1769954"/>
                <a:gd name="connsiteY10" fmla="*/ 215575 h 345708"/>
                <a:gd name="connsiteX11" fmla="*/ 338478 w 1769954"/>
                <a:gd name="connsiteY11" fmla="*/ 85441 h 345708"/>
                <a:gd name="connsiteX12" fmla="*/ 291157 w 1769954"/>
                <a:gd name="connsiteY12" fmla="*/ 215575 h 345708"/>
                <a:gd name="connsiteX13" fmla="*/ 338478 w 1769954"/>
                <a:gd name="connsiteY13" fmla="*/ 139335 h 345708"/>
                <a:gd name="connsiteX14" fmla="*/ 385800 w 1769954"/>
                <a:gd name="connsiteY14" fmla="*/ 215575 h 345708"/>
                <a:gd name="connsiteX15" fmla="*/ 338478 w 1769954"/>
                <a:gd name="connsiteY15" fmla="*/ 291814 h 345708"/>
                <a:gd name="connsiteX16" fmla="*/ 291157 w 1769954"/>
                <a:gd name="connsiteY16" fmla="*/ 215575 h 345708"/>
                <a:gd name="connsiteX17" fmla="*/ 683529 w 1769954"/>
                <a:gd name="connsiteY17" fmla="*/ 85441 h 345708"/>
                <a:gd name="connsiteX18" fmla="*/ 606632 w 1769954"/>
                <a:gd name="connsiteY18" fmla="*/ 119618 h 345708"/>
                <a:gd name="connsiteX19" fmla="*/ 605318 w 1769954"/>
                <a:gd name="connsiteY19" fmla="*/ 92671 h 345708"/>
                <a:gd name="connsiteX20" fmla="*/ 513962 w 1769954"/>
                <a:gd name="connsiteY20" fmla="*/ 92671 h 345708"/>
                <a:gd name="connsiteX21" fmla="*/ 513962 w 1769954"/>
                <a:gd name="connsiteY21" fmla="*/ 337821 h 345708"/>
                <a:gd name="connsiteX22" fmla="*/ 606632 w 1769954"/>
                <a:gd name="connsiteY22" fmla="*/ 337821 h 345708"/>
                <a:gd name="connsiteX23" fmla="*/ 606632 w 1769954"/>
                <a:gd name="connsiteY23" fmla="*/ 197172 h 345708"/>
                <a:gd name="connsiteX24" fmla="*/ 646724 w 1769954"/>
                <a:gd name="connsiteY24" fmla="*/ 143935 h 345708"/>
                <a:gd name="connsiteX25" fmla="*/ 682215 w 1769954"/>
                <a:gd name="connsiteY25" fmla="*/ 193886 h 345708"/>
                <a:gd name="connsiteX26" fmla="*/ 682215 w 1769954"/>
                <a:gd name="connsiteY26" fmla="*/ 337821 h 345708"/>
                <a:gd name="connsiteX27" fmla="*/ 774886 w 1769954"/>
                <a:gd name="connsiteY27" fmla="*/ 337821 h 345708"/>
                <a:gd name="connsiteX28" fmla="*/ 774886 w 1769954"/>
                <a:gd name="connsiteY28" fmla="*/ 173511 h 345708"/>
                <a:gd name="connsiteX29" fmla="*/ 683529 w 1769954"/>
                <a:gd name="connsiteY29" fmla="*/ 85441 h 345708"/>
                <a:gd name="connsiteX30" fmla="*/ 815635 w 1769954"/>
                <a:gd name="connsiteY30" fmla="*/ 260924 h 345708"/>
                <a:gd name="connsiteX31" fmla="*/ 912249 w 1769954"/>
                <a:gd name="connsiteY31" fmla="*/ 345051 h 345708"/>
                <a:gd name="connsiteX32" fmla="*/ 962199 w 1769954"/>
                <a:gd name="connsiteY32" fmla="*/ 340450 h 345708"/>
                <a:gd name="connsiteX33" fmla="*/ 962199 w 1769954"/>
                <a:gd name="connsiteY33" fmla="*/ 285242 h 345708"/>
                <a:gd name="connsiteX34" fmla="*/ 926708 w 1769954"/>
                <a:gd name="connsiteY34" fmla="*/ 286556 h 345708"/>
                <a:gd name="connsiteX35" fmla="*/ 908963 w 1769954"/>
                <a:gd name="connsiteY35" fmla="*/ 248437 h 345708"/>
                <a:gd name="connsiteX36" fmla="*/ 908963 w 1769954"/>
                <a:gd name="connsiteY36" fmla="*/ 151165 h 345708"/>
                <a:gd name="connsiteX37" fmla="*/ 962856 w 1769954"/>
                <a:gd name="connsiteY37" fmla="*/ 151165 h 345708"/>
                <a:gd name="connsiteX38" fmla="*/ 962856 w 1769954"/>
                <a:gd name="connsiteY38" fmla="*/ 93328 h 345708"/>
                <a:gd name="connsiteX39" fmla="*/ 908963 w 1769954"/>
                <a:gd name="connsiteY39" fmla="*/ 93328 h 345708"/>
                <a:gd name="connsiteX40" fmla="*/ 908963 w 1769954"/>
                <a:gd name="connsiteY40" fmla="*/ 0 h 345708"/>
                <a:gd name="connsiteX41" fmla="*/ 816292 w 1769954"/>
                <a:gd name="connsiteY41" fmla="*/ 120932 h 345708"/>
                <a:gd name="connsiteX42" fmla="*/ 815635 w 1769954"/>
                <a:gd name="connsiteY42" fmla="*/ 260924 h 345708"/>
                <a:gd name="connsiteX43" fmla="*/ 1097591 w 1769954"/>
                <a:gd name="connsiteY43" fmla="*/ 92671 h 345708"/>
                <a:gd name="connsiteX44" fmla="*/ 1006234 w 1769954"/>
                <a:gd name="connsiteY44" fmla="*/ 92671 h 345708"/>
                <a:gd name="connsiteX45" fmla="*/ 1006234 w 1769954"/>
                <a:gd name="connsiteY45" fmla="*/ 337821 h 345708"/>
                <a:gd name="connsiteX46" fmla="*/ 1098905 w 1769954"/>
                <a:gd name="connsiteY46" fmla="*/ 337821 h 345708"/>
                <a:gd name="connsiteX47" fmla="*/ 1098905 w 1769954"/>
                <a:gd name="connsiteY47" fmla="*/ 239235 h 345708"/>
                <a:gd name="connsiteX48" fmla="*/ 1162657 w 1769954"/>
                <a:gd name="connsiteY48" fmla="*/ 162995 h 345708"/>
                <a:gd name="connsiteX49" fmla="*/ 1182374 w 1769954"/>
                <a:gd name="connsiteY49" fmla="*/ 163653 h 345708"/>
                <a:gd name="connsiteX50" fmla="*/ 1182374 w 1769954"/>
                <a:gd name="connsiteY50" fmla="*/ 85441 h 345708"/>
                <a:gd name="connsiteX51" fmla="*/ 1100219 w 1769954"/>
                <a:gd name="connsiteY51" fmla="*/ 138678 h 345708"/>
                <a:gd name="connsiteX52" fmla="*/ 1099562 w 1769954"/>
                <a:gd name="connsiteY52" fmla="*/ 138678 h 345708"/>
                <a:gd name="connsiteX53" fmla="*/ 1097591 w 1769954"/>
                <a:gd name="connsiteY53" fmla="*/ 92671 h 345708"/>
                <a:gd name="connsiteX54" fmla="*/ 1338140 w 1769954"/>
                <a:gd name="connsiteY54" fmla="*/ 85441 h 345708"/>
                <a:gd name="connsiteX55" fmla="*/ 1195519 w 1769954"/>
                <a:gd name="connsiteY55" fmla="*/ 215575 h 345708"/>
                <a:gd name="connsiteX56" fmla="*/ 1338140 w 1769954"/>
                <a:gd name="connsiteY56" fmla="*/ 345708 h 345708"/>
                <a:gd name="connsiteX57" fmla="*/ 1480761 w 1769954"/>
                <a:gd name="connsiteY57" fmla="*/ 215575 h 345708"/>
                <a:gd name="connsiteX58" fmla="*/ 1338140 w 1769954"/>
                <a:gd name="connsiteY58" fmla="*/ 85441 h 345708"/>
                <a:gd name="connsiteX59" fmla="*/ 1290819 w 1769954"/>
                <a:gd name="connsiteY59" fmla="*/ 215575 h 345708"/>
                <a:gd name="connsiteX60" fmla="*/ 1338140 w 1769954"/>
                <a:gd name="connsiteY60" fmla="*/ 139335 h 345708"/>
                <a:gd name="connsiteX61" fmla="*/ 1385461 w 1769954"/>
                <a:gd name="connsiteY61" fmla="*/ 215575 h 345708"/>
                <a:gd name="connsiteX62" fmla="*/ 1338140 w 1769954"/>
                <a:gd name="connsiteY62" fmla="*/ 291814 h 345708"/>
                <a:gd name="connsiteX63" fmla="*/ 1290819 w 1769954"/>
                <a:gd name="connsiteY63" fmla="*/ 215575 h 345708"/>
                <a:gd name="connsiteX64" fmla="*/ 1678590 w 1769954"/>
                <a:gd name="connsiteY64" fmla="*/ 85441 h 345708"/>
                <a:gd name="connsiteX65" fmla="*/ 1601693 w 1769954"/>
                <a:gd name="connsiteY65" fmla="*/ 119618 h 345708"/>
                <a:gd name="connsiteX66" fmla="*/ 1600379 w 1769954"/>
                <a:gd name="connsiteY66" fmla="*/ 92671 h 345708"/>
                <a:gd name="connsiteX67" fmla="*/ 1509023 w 1769954"/>
                <a:gd name="connsiteY67" fmla="*/ 92671 h 345708"/>
                <a:gd name="connsiteX68" fmla="*/ 1509023 w 1769954"/>
                <a:gd name="connsiteY68" fmla="*/ 337821 h 345708"/>
                <a:gd name="connsiteX69" fmla="*/ 1601693 w 1769954"/>
                <a:gd name="connsiteY69" fmla="*/ 337821 h 345708"/>
                <a:gd name="connsiteX70" fmla="*/ 1601693 w 1769954"/>
                <a:gd name="connsiteY70" fmla="*/ 197829 h 345708"/>
                <a:gd name="connsiteX71" fmla="*/ 1641785 w 1769954"/>
                <a:gd name="connsiteY71" fmla="*/ 144593 h 345708"/>
                <a:gd name="connsiteX72" fmla="*/ 1677276 w 1769954"/>
                <a:gd name="connsiteY72" fmla="*/ 194543 h 345708"/>
                <a:gd name="connsiteX73" fmla="*/ 1677276 w 1769954"/>
                <a:gd name="connsiteY73" fmla="*/ 338478 h 345708"/>
                <a:gd name="connsiteX74" fmla="*/ 1769947 w 1769954"/>
                <a:gd name="connsiteY74" fmla="*/ 338478 h 345708"/>
                <a:gd name="connsiteX75" fmla="*/ 1769947 w 1769954"/>
                <a:gd name="connsiteY75" fmla="*/ 174169 h 345708"/>
                <a:gd name="connsiteX76" fmla="*/ 1678590 w 1769954"/>
                <a:gd name="connsiteY76" fmla="*/ 85441 h 34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69954" h="345708">
                  <a:moveTo>
                    <a:pt x="196515" y="92671"/>
                  </a:moveTo>
                  <a:lnTo>
                    <a:pt x="99243" y="217546"/>
                  </a:lnTo>
                  <a:lnTo>
                    <a:pt x="194543" y="338478"/>
                  </a:lnTo>
                  <a:lnTo>
                    <a:pt x="84784" y="338478"/>
                  </a:lnTo>
                  <a:lnTo>
                    <a:pt x="0" y="217546"/>
                  </a:lnTo>
                  <a:lnTo>
                    <a:pt x="95300" y="93328"/>
                  </a:lnTo>
                  <a:lnTo>
                    <a:pt x="196515" y="92671"/>
                  </a:lnTo>
                  <a:close/>
                  <a:moveTo>
                    <a:pt x="338478" y="85441"/>
                  </a:moveTo>
                  <a:cubicBezTo>
                    <a:pt x="261581" y="85441"/>
                    <a:pt x="195857" y="124876"/>
                    <a:pt x="195857" y="215575"/>
                  </a:cubicBezTo>
                  <a:cubicBezTo>
                    <a:pt x="195857" y="306274"/>
                    <a:pt x="261581" y="345708"/>
                    <a:pt x="338478" y="345708"/>
                  </a:cubicBezTo>
                  <a:cubicBezTo>
                    <a:pt x="415376" y="345708"/>
                    <a:pt x="481100" y="306274"/>
                    <a:pt x="481100" y="215575"/>
                  </a:cubicBezTo>
                  <a:cubicBezTo>
                    <a:pt x="481757" y="125533"/>
                    <a:pt x="415376" y="85441"/>
                    <a:pt x="338478" y="85441"/>
                  </a:cubicBezTo>
                  <a:close/>
                  <a:moveTo>
                    <a:pt x="291157" y="215575"/>
                  </a:moveTo>
                  <a:cubicBezTo>
                    <a:pt x="291157" y="180741"/>
                    <a:pt x="299701" y="139335"/>
                    <a:pt x="338478" y="139335"/>
                  </a:cubicBezTo>
                  <a:cubicBezTo>
                    <a:pt x="377256" y="139335"/>
                    <a:pt x="385800" y="180741"/>
                    <a:pt x="385800" y="215575"/>
                  </a:cubicBezTo>
                  <a:cubicBezTo>
                    <a:pt x="385800" y="250408"/>
                    <a:pt x="377256" y="291814"/>
                    <a:pt x="338478" y="291814"/>
                  </a:cubicBezTo>
                  <a:cubicBezTo>
                    <a:pt x="299701" y="291814"/>
                    <a:pt x="291157" y="250408"/>
                    <a:pt x="291157" y="215575"/>
                  </a:cubicBezTo>
                  <a:close/>
                  <a:moveTo>
                    <a:pt x="683529" y="85441"/>
                  </a:moveTo>
                  <a:cubicBezTo>
                    <a:pt x="651982" y="85441"/>
                    <a:pt x="627664" y="95300"/>
                    <a:pt x="606632" y="119618"/>
                  </a:cubicBezTo>
                  <a:lnTo>
                    <a:pt x="605318" y="92671"/>
                  </a:lnTo>
                  <a:lnTo>
                    <a:pt x="513962" y="92671"/>
                  </a:lnTo>
                  <a:lnTo>
                    <a:pt x="513962" y="337821"/>
                  </a:lnTo>
                  <a:lnTo>
                    <a:pt x="606632" y="337821"/>
                  </a:lnTo>
                  <a:lnTo>
                    <a:pt x="606632" y="197172"/>
                  </a:lnTo>
                  <a:cubicBezTo>
                    <a:pt x="606632" y="194543"/>
                    <a:pt x="600717" y="143935"/>
                    <a:pt x="646724" y="143935"/>
                  </a:cubicBezTo>
                  <a:cubicBezTo>
                    <a:pt x="675643" y="143935"/>
                    <a:pt x="681558" y="169568"/>
                    <a:pt x="682215" y="193886"/>
                  </a:cubicBezTo>
                  <a:lnTo>
                    <a:pt x="682215" y="337821"/>
                  </a:lnTo>
                  <a:lnTo>
                    <a:pt x="774886" y="337821"/>
                  </a:lnTo>
                  <a:lnTo>
                    <a:pt x="774886" y="173511"/>
                  </a:lnTo>
                  <a:cubicBezTo>
                    <a:pt x="774886" y="119618"/>
                    <a:pt x="736109" y="85441"/>
                    <a:pt x="683529" y="85441"/>
                  </a:cubicBezTo>
                  <a:close/>
                  <a:moveTo>
                    <a:pt x="815635" y="260924"/>
                  </a:moveTo>
                  <a:cubicBezTo>
                    <a:pt x="811034" y="336507"/>
                    <a:pt x="849154" y="345051"/>
                    <a:pt x="912249" y="345051"/>
                  </a:cubicBezTo>
                  <a:cubicBezTo>
                    <a:pt x="926051" y="345051"/>
                    <a:pt x="941167" y="344394"/>
                    <a:pt x="962199" y="340450"/>
                  </a:cubicBezTo>
                  <a:lnTo>
                    <a:pt x="962199" y="285242"/>
                  </a:lnTo>
                  <a:cubicBezTo>
                    <a:pt x="951683" y="286556"/>
                    <a:pt x="938538" y="286556"/>
                    <a:pt x="926708" y="286556"/>
                  </a:cubicBezTo>
                  <a:cubicBezTo>
                    <a:pt x="905019" y="286556"/>
                    <a:pt x="908963" y="255009"/>
                    <a:pt x="908963" y="248437"/>
                  </a:cubicBezTo>
                  <a:lnTo>
                    <a:pt x="908963" y="151165"/>
                  </a:lnTo>
                  <a:lnTo>
                    <a:pt x="962856" y="151165"/>
                  </a:lnTo>
                  <a:lnTo>
                    <a:pt x="962856" y="93328"/>
                  </a:lnTo>
                  <a:lnTo>
                    <a:pt x="908963" y="93328"/>
                  </a:lnTo>
                  <a:lnTo>
                    <a:pt x="908963" y="0"/>
                  </a:lnTo>
                  <a:lnTo>
                    <a:pt x="816292" y="120932"/>
                  </a:lnTo>
                  <a:lnTo>
                    <a:pt x="815635" y="260924"/>
                  </a:lnTo>
                  <a:close/>
                  <a:moveTo>
                    <a:pt x="1097591" y="92671"/>
                  </a:moveTo>
                  <a:lnTo>
                    <a:pt x="1006234" y="92671"/>
                  </a:lnTo>
                  <a:lnTo>
                    <a:pt x="1006234" y="337821"/>
                  </a:lnTo>
                  <a:lnTo>
                    <a:pt x="1098905" y="337821"/>
                  </a:lnTo>
                  <a:lnTo>
                    <a:pt x="1098905" y="239235"/>
                  </a:lnTo>
                  <a:cubicBezTo>
                    <a:pt x="1097591" y="192571"/>
                    <a:pt x="1114022" y="163653"/>
                    <a:pt x="1162657" y="162995"/>
                  </a:cubicBezTo>
                  <a:cubicBezTo>
                    <a:pt x="1169230" y="162995"/>
                    <a:pt x="1175145" y="162995"/>
                    <a:pt x="1182374" y="163653"/>
                  </a:cubicBezTo>
                  <a:lnTo>
                    <a:pt x="1182374" y="85441"/>
                  </a:lnTo>
                  <a:cubicBezTo>
                    <a:pt x="1141626" y="84784"/>
                    <a:pt x="1110735" y="97929"/>
                    <a:pt x="1100219" y="138678"/>
                  </a:cubicBezTo>
                  <a:lnTo>
                    <a:pt x="1099562" y="138678"/>
                  </a:lnTo>
                  <a:lnTo>
                    <a:pt x="1097591" y="92671"/>
                  </a:lnTo>
                  <a:close/>
                  <a:moveTo>
                    <a:pt x="1338140" y="85441"/>
                  </a:moveTo>
                  <a:cubicBezTo>
                    <a:pt x="1261243" y="85441"/>
                    <a:pt x="1195519" y="124876"/>
                    <a:pt x="1195519" y="215575"/>
                  </a:cubicBezTo>
                  <a:cubicBezTo>
                    <a:pt x="1195519" y="306274"/>
                    <a:pt x="1261243" y="345708"/>
                    <a:pt x="1338140" y="345708"/>
                  </a:cubicBezTo>
                  <a:cubicBezTo>
                    <a:pt x="1415037" y="345708"/>
                    <a:pt x="1480761" y="306274"/>
                    <a:pt x="1480761" y="215575"/>
                  </a:cubicBezTo>
                  <a:cubicBezTo>
                    <a:pt x="1480761" y="124876"/>
                    <a:pt x="1414380" y="85441"/>
                    <a:pt x="1338140" y="85441"/>
                  </a:cubicBezTo>
                  <a:close/>
                  <a:moveTo>
                    <a:pt x="1290819" y="215575"/>
                  </a:moveTo>
                  <a:cubicBezTo>
                    <a:pt x="1290819" y="180741"/>
                    <a:pt x="1299363" y="139335"/>
                    <a:pt x="1338140" y="139335"/>
                  </a:cubicBezTo>
                  <a:cubicBezTo>
                    <a:pt x="1376917" y="139335"/>
                    <a:pt x="1385461" y="180741"/>
                    <a:pt x="1385461" y="215575"/>
                  </a:cubicBezTo>
                  <a:cubicBezTo>
                    <a:pt x="1385461" y="250408"/>
                    <a:pt x="1376917" y="291814"/>
                    <a:pt x="1338140" y="291814"/>
                  </a:cubicBezTo>
                  <a:cubicBezTo>
                    <a:pt x="1298706" y="291814"/>
                    <a:pt x="1290819" y="250408"/>
                    <a:pt x="1290819" y="215575"/>
                  </a:cubicBezTo>
                  <a:close/>
                  <a:moveTo>
                    <a:pt x="1678590" y="85441"/>
                  </a:moveTo>
                  <a:cubicBezTo>
                    <a:pt x="1647043" y="85441"/>
                    <a:pt x="1622725" y="95300"/>
                    <a:pt x="1601693" y="119618"/>
                  </a:cubicBezTo>
                  <a:lnTo>
                    <a:pt x="1600379" y="92671"/>
                  </a:lnTo>
                  <a:lnTo>
                    <a:pt x="1509023" y="92671"/>
                  </a:lnTo>
                  <a:lnTo>
                    <a:pt x="1509023" y="337821"/>
                  </a:lnTo>
                  <a:lnTo>
                    <a:pt x="1601693" y="337821"/>
                  </a:lnTo>
                  <a:lnTo>
                    <a:pt x="1601693" y="197829"/>
                  </a:lnTo>
                  <a:cubicBezTo>
                    <a:pt x="1601693" y="195200"/>
                    <a:pt x="1595778" y="144593"/>
                    <a:pt x="1641785" y="144593"/>
                  </a:cubicBezTo>
                  <a:cubicBezTo>
                    <a:pt x="1670704" y="144593"/>
                    <a:pt x="1676619" y="170225"/>
                    <a:pt x="1677276" y="194543"/>
                  </a:cubicBezTo>
                  <a:lnTo>
                    <a:pt x="1677276" y="338478"/>
                  </a:lnTo>
                  <a:lnTo>
                    <a:pt x="1769947" y="338478"/>
                  </a:lnTo>
                  <a:lnTo>
                    <a:pt x="1769947" y="174169"/>
                  </a:lnTo>
                  <a:cubicBezTo>
                    <a:pt x="1770604" y="119618"/>
                    <a:pt x="1731170" y="85441"/>
                    <a:pt x="1678590" y="85441"/>
                  </a:cubicBezTo>
                  <a:close/>
                </a:path>
              </a:pathLst>
            </a:custGeom>
            <a:grpFill/>
            <a:ln w="6540" cap="flat">
              <a:noFill/>
              <a:prstDash val="solid"/>
              <a:miter/>
            </a:ln>
          </p:spPr>
          <p:txBody>
            <a:bodyPr rtlCol="0" anchor="ctr"/>
            <a:lstStyle/>
            <a:p>
              <a:endParaRPr lang="en-GB" dirty="0"/>
            </a:p>
          </p:txBody>
        </p:sp>
      </p:grpSp>
      <p:sp>
        <p:nvSpPr>
          <p:cNvPr id="12" name="Textplatzhalter 11">
            <a:extLst>
              <a:ext uri="{FF2B5EF4-FFF2-40B4-BE49-F238E27FC236}">
                <a16:creationId xmlns:a16="http://schemas.microsoft.com/office/drawing/2014/main" id="{B5BD8CC8-2440-F0F0-4F9C-730496BFD487}"/>
              </a:ext>
            </a:extLst>
          </p:cNvPr>
          <p:cNvSpPr>
            <a:spLocks noGrp="1"/>
          </p:cNvSpPr>
          <p:nvPr>
            <p:ph type="body" sz="quarter" idx="10" hasCustomPrompt="1"/>
          </p:nvPr>
        </p:nvSpPr>
        <p:spPr>
          <a:xfrm>
            <a:off x="1754188" y="3817886"/>
            <a:ext cx="8683625" cy="615553"/>
          </a:xfrm>
        </p:spPr>
        <p:txBody>
          <a:bodyPr anchor="b">
            <a:spAutoFit/>
          </a:bodyPr>
          <a:lstStyle>
            <a:lvl1pPr marL="0" indent="0">
              <a:buNone/>
              <a:defRPr sz="4000">
                <a:solidFill>
                  <a:schemeClr val="accent5"/>
                </a:solidFill>
              </a:defRPr>
            </a:lvl1pPr>
            <a:lvl2pPr marL="216000" indent="0">
              <a:buNone/>
              <a:defRPr sz="3600">
                <a:solidFill>
                  <a:schemeClr val="accent1"/>
                </a:solidFill>
              </a:defRPr>
            </a:lvl2pPr>
            <a:lvl3pPr marL="432000" indent="0">
              <a:buNone/>
              <a:defRPr sz="3200">
                <a:solidFill>
                  <a:schemeClr val="accent1"/>
                </a:solidFill>
              </a:defRPr>
            </a:lvl3pPr>
            <a:lvl4pPr marL="648000" indent="0">
              <a:buNone/>
              <a:defRPr sz="2800">
                <a:solidFill>
                  <a:schemeClr val="accent1"/>
                </a:solidFill>
              </a:defRPr>
            </a:lvl4pPr>
            <a:lvl5pPr marL="864000" indent="0">
              <a:buNone/>
              <a:defRPr sz="2400">
                <a:solidFill>
                  <a:schemeClr val="accent1"/>
                </a:solidFill>
              </a:defRPr>
            </a:lvl5pPr>
          </a:lstStyle>
          <a:p>
            <a:pPr lvl="0"/>
            <a:r>
              <a:rPr lang="de-DE" dirty="0"/>
              <a:t>Key </a:t>
            </a:r>
            <a:r>
              <a:rPr lang="de-DE" dirty="0" err="1"/>
              <a:t>message</a:t>
            </a:r>
            <a:r>
              <a:rPr lang="de-DE" dirty="0"/>
              <a:t>, Calibri Light, 40pt</a:t>
            </a:r>
            <a:endParaRPr lang="en-US" dirty="0"/>
          </a:p>
        </p:txBody>
      </p:sp>
      <p:sp>
        <p:nvSpPr>
          <p:cNvPr id="13" name="Textplatzhalter 11">
            <a:extLst>
              <a:ext uri="{FF2B5EF4-FFF2-40B4-BE49-F238E27FC236}">
                <a16:creationId xmlns:a16="http://schemas.microsoft.com/office/drawing/2014/main" id="{82D41072-7096-0C95-9888-8ABE2033E21B}"/>
              </a:ext>
            </a:extLst>
          </p:cNvPr>
          <p:cNvSpPr>
            <a:spLocks noGrp="1"/>
          </p:cNvSpPr>
          <p:nvPr>
            <p:ph type="body" sz="quarter" idx="11" hasCustomPrompt="1"/>
          </p:nvPr>
        </p:nvSpPr>
        <p:spPr>
          <a:xfrm>
            <a:off x="1754188" y="4534864"/>
            <a:ext cx="8683625" cy="307777"/>
          </a:xfrm>
        </p:spPr>
        <p:txBody>
          <a:bodyPr>
            <a:spAutoFit/>
          </a:bodyPr>
          <a:lstStyle>
            <a:lvl1pPr marL="0" indent="0">
              <a:buNone/>
              <a:defRPr sz="2000">
                <a:solidFill>
                  <a:schemeClr val="bg1"/>
                </a:solidFill>
              </a:defRPr>
            </a:lvl1pPr>
            <a:lvl2pPr marL="216000" indent="0">
              <a:buNone/>
              <a:defRPr sz="3600">
                <a:solidFill>
                  <a:schemeClr val="accent1"/>
                </a:solidFill>
              </a:defRPr>
            </a:lvl2pPr>
            <a:lvl3pPr marL="432000" indent="0">
              <a:buNone/>
              <a:defRPr sz="3200">
                <a:solidFill>
                  <a:schemeClr val="accent1"/>
                </a:solidFill>
              </a:defRPr>
            </a:lvl3pPr>
            <a:lvl4pPr marL="648000" indent="0">
              <a:buNone/>
              <a:defRPr sz="2800">
                <a:solidFill>
                  <a:schemeClr val="accent1"/>
                </a:solidFill>
              </a:defRPr>
            </a:lvl4pPr>
            <a:lvl5pPr marL="864000" indent="0">
              <a:buNone/>
              <a:defRPr sz="2400">
                <a:solidFill>
                  <a:schemeClr val="accent1"/>
                </a:solidFill>
              </a:defRPr>
            </a:lvl5pPr>
          </a:lstStyle>
          <a:p>
            <a:pPr lvl="0"/>
            <a:r>
              <a:rPr lang="de-DE" dirty="0" err="1"/>
              <a:t>Subtitle</a:t>
            </a:r>
            <a:r>
              <a:rPr lang="de-DE" dirty="0"/>
              <a:t>, Calibri Light, 20pt</a:t>
            </a:r>
            <a:endParaRPr lang="en-US" dirty="0"/>
          </a:p>
        </p:txBody>
      </p:sp>
    </p:spTree>
    <p:extLst>
      <p:ext uri="{BB962C8B-B14F-4D97-AF65-F5344CB8AC3E}">
        <p14:creationId xmlns:p14="http://schemas.microsoft.com/office/powerpoint/2010/main" val="34254745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ac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85F5AAD-09E7-C2E3-5606-704B8791915D}"/>
              </a:ext>
            </a:extLst>
          </p:cNvPr>
          <p:cNvGraphicFramePr>
            <a:graphicFrameLocks noChangeAspect="1"/>
          </p:cNvGraphicFramePr>
          <p:nvPr userDrawn="1">
            <p:custDataLst>
              <p:tags r:id="rId1"/>
            </p:custDataLst>
            <p:extLst>
              <p:ext uri="{D42A27DB-BD31-4B8C-83A1-F6EECF244321}">
                <p14:modId xmlns:p14="http://schemas.microsoft.com/office/powerpoint/2010/main" val="683876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think-cell data - do not delete" hidden="1">
                        <a:extLst>
                          <a:ext uri="{FF2B5EF4-FFF2-40B4-BE49-F238E27FC236}">
                            <a16:creationId xmlns:a16="http://schemas.microsoft.com/office/drawing/2014/main" id="{585F5AAD-09E7-C2E3-5606-704B879191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reihandform: Form 10">
            <a:extLst>
              <a:ext uri="{FF2B5EF4-FFF2-40B4-BE49-F238E27FC236}">
                <a16:creationId xmlns:a16="http://schemas.microsoft.com/office/drawing/2014/main" id="{CB91E3BC-386B-FA7F-0250-6B1D15C50EB4}"/>
              </a:ext>
            </a:extLst>
          </p:cNvPr>
          <p:cNvSpPr/>
          <p:nvPr userDrawn="1"/>
        </p:nvSpPr>
        <p:spPr>
          <a:xfrm flipH="1">
            <a:off x="4346442" y="1"/>
            <a:ext cx="7845558" cy="6858001"/>
          </a:xfrm>
          <a:custGeom>
            <a:avLst/>
            <a:gdLst>
              <a:gd name="connsiteX0" fmla="*/ 7845558 w 7845558"/>
              <a:gd name="connsiteY0" fmla="*/ 0 h 6858001"/>
              <a:gd name="connsiteX1" fmla="*/ 1242664 w 7845558"/>
              <a:gd name="connsiteY1" fmla="*/ 43751 h 6858001"/>
              <a:gd name="connsiteX2" fmla="*/ 0 w 7845558"/>
              <a:gd name="connsiteY2" fmla="*/ 1697618 h 6858001"/>
              <a:gd name="connsiteX3" fmla="*/ 0 w 7845558"/>
              <a:gd name="connsiteY3" fmla="*/ 6858001 h 6858001"/>
              <a:gd name="connsiteX4" fmla="*/ 2613743 w 7845558"/>
              <a:gd name="connsiteY4" fmla="*/ 6858001 h 68580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5558" h="6858001">
                <a:moveTo>
                  <a:pt x="7845558" y="0"/>
                </a:moveTo>
                <a:lnTo>
                  <a:pt x="1242664" y="43751"/>
                </a:lnTo>
                <a:lnTo>
                  <a:pt x="0" y="1697618"/>
                </a:lnTo>
                <a:lnTo>
                  <a:pt x="0" y="6858001"/>
                </a:lnTo>
                <a:lnTo>
                  <a:pt x="2613743" y="6858001"/>
                </a:lnTo>
                <a:close/>
              </a:path>
            </a:pathLst>
          </a:custGeom>
          <a:solidFill>
            <a:schemeClr val="bg2">
              <a:alpha val="45000"/>
            </a:schemeClr>
          </a:solidFill>
          <a:ln w="6540" cap="flat">
            <a:noFill/>
            <a:prstDash val="solid"/>
            <a:miter/>
          </a:ln>
        </p:spPr>
        <p:txBody>
          <a:bodyPr wrap="square" rtlCol="0" anchor="ctr">
            <a:noAutofit/>
          </a:bodyPr>
          <a:lstStyle/>
          <a:p>
            <a:endParaRPr lang="en-GB" dirty="0"/>
          </a:p>
        </p:txBody>
      </p:sp>
      <p:grpSp>
        <p:nvGrpSpPr>
          <p:cNvPr id="12" name="Gruppieren 11">
            <a:extLst>
              <a:ext uri="{FF2B5EF4-FFF2-40B4-BE49-F238E27FC236}">
                <a16:creationId xmlns:a16="http://schemas.microsoft.com/office/drawing/2014/main" id="{C9AE9D32-12E2-B81D-D5AA-417084C5BE44}"/>
              </a:ext>
            </a:extLst>
          </p:cNvPr>
          <p:cNvGrpSpPr/>
          <p:nvPr userDrawn="1"/>
        </p:nvGrpSpPr>
        <p:grpSpPr>
          <a:xfrm>
            <a:off x="9938597" y="441325"/>
            <a:ext cx="1558078" cy="295275"/>
            <a:chOff x="9938597" y="441325"/>
            <a:chExt cx="1558078" cy="295275"/>
          </a:xfrm>
        </p:grpSpPr>
        <p:sp>
          <p:nvSpPr>
            <p:cNvPr id="13" name="Freeform: Shape 10">
              <a:extLst>
                <a:ext uri="{FF2B5EF4-FFF2-40B4-BE49-F238E27FC236}">
                  <a16:creationId xmlns:a16="http://schemas.microsoft.com/office/drawing/2014/main" id="{2A155A85-5088-074E-B7D2-7187A0CACE1E}"/>
                </a:ext>
              </a:extLst>
            </p:cNvPr>
            <p:cNvSpPr/>
            <p:nvPr/>
          </p:nvSpPr>
          <p:spPr>
            <a:xfrm>
              <a:off x="9938597" y="441325"/>
              <a:ext cx="77518" cy="289100"/>
            </a:xfrm>
            <a:custGeom>
              <a:avLst/>
              <a:gdLst>
                <a:gd name="connsiteX0" fmla="*/ 92671 w 92670"/>
                <a:gd name="connsiteY0" fmla="*/ 0 h 338478"/>
                <a:gd name="connsiteX1" fmla="*/ 0 w 92670"/>
                <a:gd name="connsiteY1" fmla="*/ 0 h 338478"/>
                <a:gd name="connsiteX2" fmla="*/ 0 w 92670"/>
                <a:gd name="connsiteY2" fmla="*/ 338478 h 338478"/>
                <a:gd name="connsiteX3" fmla="*/ 92671 w 92670"/>
                <a:gd name="connsiteY3" fmla="*/ 217546 h 338478"/>
              </a:gdLst>
              <a:ahLst/>
              <a:cxnLst>
                <a:cxn ang="0">
                  <a:pos x="connsiteX0" y="connsiteY0"/>
                </a:cxn>
                <a:cxn ang="0">
                  <a:pos x="connsiteX1" y="connsiteY1"/>
                </a:cxn>
                <a:cxn ang="0">
                  <a:pos x="connsiteX2" y="connsiteY2"/>
                </a:cxn>
                <a:cxn ang="0">
                  <a:pos x="connsiteX3" y="connsiteY3"/>
                </a:cxn>
              </a:cxnLst>
              <a:rect l="l" t="t" r="r" b="b"/>
              <a:pathLst>
                <a:path w="92670" h="338478">
                  <a:moveTo>
                    <a:pt x="92671" y="0"/>
                  </a:moveTo>
                  <a:lnTo>
                    <a:pt x="0" y="0"/>
                  </a:lnTo>
                  <a:lnTo>
                    <a:pt x="0" y="338478"/>
                  </a:lnTo>
                  <a:lnTo>
                    <a:pt x="92671" y="217546"/>
                  </a:lnTo>
                  <a:close/>
                </a:path>
              </a:pathLst>
            </a:custGeom>
            <a:solidFill>
              <a:schemeClr val="accent3"/>
            </a:solidFill>
            <a:ln w="6540" cap="flat">
              <a:noFill/>
              <a:prstDash val="solid"/>
              <a:miter/>
            </a:ln>
          </p:spPr>
          <p:txBody>
            <a:bodyPr rtlCol="0" anchor="ctr"/>
            <a:lstStyle/>
            <a:p>
              <a:endParaRPr lang="en-GB"/>
            </a:p>
          </p:txBody>
        </p:sp>
        <p:sp>
          <p:nvSpPr>
            <p:cNvPr id="14" name="Freeform: Shape 11">
              <a:extLst>
                <a:ext uri="{FF2B5EF4-FFF2-40B4-BE49-F238E27FC236}">
                  <a16:creationId xmlns:a16="http://schemas.microsoft.com/office/drawing/2014/main" id="{94C63E7C-2BA6-E65E-E013-6658EA864077}"/>
                </a:ext>
              </a:extLst>
            </p:cNvPr>
            <p:cNvSpPr/>
            <p:nvPr/>
          </p:nvSpPr>
          <p:spPr>
            <a:xfrm>
              <a:off x="10016115" y="441325"/>
              <a:ext cx="1480560" cy="295275"/>
            </a:xfrm>
            <a:custGeom>
              <a:avLst/>
              <a:gdLst>
                <a:gd name="connsiteX0" fmla="*/ 196515 w 1769954"/>
                <a:gd name="connsiteY0" fmla="*/ 92671 h 345708"/>
                <a:gd name="connsiteX1" fmla="*/ 99243 w 1769954"/>
                <a:gd name="connsiteY1" fmla="*/ 217546 h 345708"/>
                <a:gd name="connsiteX2" fmla="*/ 194543 w 1769954"/>
                <a:gd name="connsiteY2" fmla="*/ 338478 h 345708"/>
                <a:gd name="connsiteX3" fmla="*/ 84784 w 1769954"/>
                <a:gd name="connsiteY3" fmla="*/ 338478 h 345708"/>
                <a:gd name="connsiteX4" fmla="*/ 0 w 1769954"/>
                <a:gd name="connsiteY4" fmla="*/ 217546 h 345708"/>
                <a:gd name="connsiteX5" fmla="*/ 95300 w 1769954"/>
                <a:gd name="connsiteY5" fmla="*/ 93328 h 345708"/>
                <a:gd name="connsiteX6" fmla="*/ 196515 w 1769954"/>
                <a:gd name="connsiteY6" fmla="*/ 92671 h 345708"/>
                <a:gd name="connsiteX7" fmla="*/ 338478 w 1769954"/>
                <a:gd name="connsiteY7" fmla="*/ 85441 h 345708"/>
                <a:gd name="connsiteX8" fmla="*/ 195857 w 1769954"/>
                <a:gd name="connsiteY8" fmla="*/ 215575 h 345708"/>
                <a:gd name="connsiteX9" fmla="*/ 338478 w 1769954"/>
                <a:gd name="connsiteY9" fmla="*/ 345708 h 345708"/>
                <a:gd name="connsiteX10" fmla="*/ 481100 w 1769954"/>
                <a:gd name="connsiteY10" fmla="*/ 215575 h 345708"/>
                <a:gd name="connsiteX11" fmla="*/ 338478 w 1769954"/>
                <a:gd name="connsiteY11" fmla="*/ 85441 h 345708"/>
                <a:gd name="connsiteX12" fmla="*/ 291157 w 1769954"/>
                <a:gd name="connsiteY12" fmla="*/ 215575 h 345708"/>
                <a:gd name="connsiteX13" fmla="*/ 338478 w 1769954"/>
                <a:gd name="connsiteY13" fmla="*/ 139335 h 345708"/>
                <a:gd name="connsiteX14" fmla="*/ 385800 w 1769954"/>
                <a:gd name="connsiteY14" fmla="*/ 215575 h 345708"/>
                <a:gd name="connsiteX15" fmla="*/ 338478 w 1769954"/>
                <a:gd name="connsiteY15" fmla="*/ 291814 h 345708"/>
                <a:gd name="connsiteX16" fmla="*/ 291157 w 1769954"/>
                <a:gd name="connsiteY16" fmla="*/ 215575 h 345708"/>
                <a:gd name="connsiteX17" fmla="*/ 683529 w 1769954"/>
                <a:gd name="connsiteY17" fmla="*/ 85441 h 345708"/>
                <a:gd name="connsiteX18" fmla="*/ 606632 w 1769954"/>
                <a:gd name="connsiteY18" fmla="*/ 119618 h 345708"/>
                <a:gd name="connsiteX19" fmla="*/ 605318 w 1769954"/>
                <a:gd name="connsiteY19" fmla="*/ 92671 h 345708"/>
                <a:gd name="connsiteX20" fmla="*/ 513962 w 1769954"/>
                <a:gd name="connsiteY20" fmla="*/ 92671 h 345708"/>
                <a:gd name="connsiteX21" fmla="*/ 513962 w 1769954"/>
                <a:gd name="connsiteY21" fmla="*/ 337821 h 345708"/>
                <a:gd name="connsiteX22" fmla="*/ 606632 w 1769954"/>
                <a:gd name="connsiteY22" fmla="*/ 337821 h 345708"/>
                <a:gd name="connsiteX23" fmla="*/ 606632 w 1769954"/>
                <a:gd name="connsiteY23" fmla="*/ 197172 h 345708"/>
                <a:gd name="connsiteX24" fmla="*/ 646724 w 1769954"/>
                <a:gd name="connsiteY24" fmla="*/ 143935 h 345708"/>
                <a:gd name="connsiteX25" fmla="*/ 682215 w 1769954"/>
                <a:gd name="connsiteY25" fmla="*/ 193886 h 345708"/>
                <a:gd name="connsiteX26" fmla="*/ 682215 w 1769954"/>
                <a:gd name="connsiteY26" fmla="*/ 337821 h 345708"/>
                <a:gd name="connsiteX27" fmla="*/ 774886 w 1769954"/>
                <a:gd name="connsiteY27" fmla="*/ 337821 h 345708"/>
                <a:gd name="connsiteX28" fmla="*/ 774886 w 1769954"/>
                <a:gd name="connsiteY28" fmla="*/ 173511 h 345708"/>
                <a:gd name="connsiteX29" fmla="*/ 683529 w 1769954"/>
                <a:gd name="connsiteY29" fmla="*/ 85441 h 345708"/>
                <a:gd name="connsiteX30" fmla="*/ 815635 w 1769954"/>
                <a:gd name="connsiteY30" fmla="*/ 260924 h 345708"/>
                <a:gd name="connsiteX31" fmla="*/ 912249 w 1769954"/>
                <a:gd name="connsiteY31" fmla="*/ 345051 h 345708"/>
                <a:gd name="connsiteX32" fmla="*/ 962199 w 1769954"/>
                <a:gd name="connsiteY32" fmla="*/ 340450 h 345708"/>
                <a:gd name="connsiteX33" fmla="*/ 962199 w 1769954"/>
                <a:gd name="connsiteY33" fmla="*/ 285242 h 345708"/>
                <a:gd name="connsiteX34" fmla="*/ 926708 w 1769954"/>
                <a:gd name="connsiteY34" fmla="*/ 286556 h 345708"/>
                <a:gd name="connsiteX35" fmla="*/ 908963 w 1769954"/>
                <a:gd name="connsiteY35" fmla="*/ 248437 h 345708"/>
                <a:gd name="connsiteX36" fmla="*/ 908963 w 1769954"/>
                <a:gd name="connsiteY36" fmla="*/ 151165 h 345708"/>
                <a:gd name="connsiteX37" fmla="*/ 962856 w 1769954"/>
                <a:gd name="connsiteY37" fmla="*/ 151165 h 345708"/>
                <a:gd name="connsiteX38" fmla="*/ 962856 w 1769954"/>
                <a:gd name="connsiteY38" fmla="*/ 93328 h 345708"/>
                <a:gd name="connsiteX39" fmla="*/ 908963 w 1769954"/>
                <a:gd name="connsiteY39" fmla="*/ 93328 h 345708"/>
                <a:gd name="connsiteX40" fmla="*/ 908963 w 1769954"/>
                <a:gd name="connsiteY40" fmla="*/ 0 h 345708"/>
                <a:gd name="connsiteX41" fmla="*/ 816292 w 1769954"/>
                <a:gd name="connsiteY41" fmla="*/ 120932 h 345708"/>
                <a:gd name="connsiteX42" fmla="*/ 815635 w 1769954"/>
                <a:gd name="connsiteY42" fmla="*/ 260924 h 345708"/>
                <a:gd name="connsiteX43" fmla="*/ 1097591 w 1769954"/>
                <a:gd name="connsiteY43" fmla="*/ 92671 h 345708"/>
                <a:gd name="connsiteX44" fmla="*/ 1006234 w 1769954"/>
                <a:gd name="connsiteY44" fmla="*/ 92671 h 345708"/>
                <a:gd name="connsiteX45" fmla="*/ 1006234 w 1769954"/>
                <a:gd name="connsiteY45" fmla="*/ 337821 h 345708"/>
                <a:gd name="connsiteX46" fmla="*/ 1098905 w 1769954"/>
                <a:gd name="connsiteY46" fmla="*/ 337821 h 345708"/>
                <a:gd name="connsiteX47" fmla="*/ 1098905 w 1769954"/>
                <a:gd name="connsiteY47" fmla="*/ 239235 h 345708"/>
                <a:gd name="connsiteX48" fmla="*/ 1162657 w 1769954"/>
                <a:gd name="connsiteY48" fmla="*/ 162995 h 345708"/>
                <a:gd name="connsiteX49" fmla="*/ 1182374 w 1769954"/>
                <a:gd name="connsiteY49" fmla="*/ 163653 h 345708"/>
                <a:gd name="connsiteX50" fmla="*/ 1182374 w 1769954"/>
                <a:gd name="connsiteY50" fmla="*/ 85441 h 345708"/>
                <a:gd name="connsiteX51" fmla="*/ 1100219 w 1769954"/>
                <a:gd name="connsiteY51" fmla="*/ 138678 h 345708"/>
                <a:gd name="connsiteX52" fmla="*/ 1099562 w 1769954"/>
                <a:gd name="connsiteY52" fmla="*/ 138678 h 345708"/>
                <a:gd name="connsiteX53" fmla="*/ 1097591 w 1769954"/>
                <a:gd name="connsiteY53" fmla="*/ 92671 h 345708"/>
                <a:gd name="connsiteX54" fmla="*/ 1338140 w 1769954"/>
                <a:gd name="connsiteY54" fmla="*/ 85441 h 345708"/>
                <a:gd name="connsiteX55" fmla="*/ 1195519 w 1769954"/>
                <a:gd name="connsiteY55" fmla="*/ 215575 h 345708"/>
                <a:gd name="connsiteX56" fmla="*/ 1338140 w 1769954"/>
                <a:gd name="connsiteY56" fmla="*/ 345708 h 345708"/>
                <a:gd name="connsiteX57" fmla="*/ 1480761 w 1769954"/>
                <a:gd name="connsiteY57" fmla="*/ 215575 h 345708"/>
                <a:gd name="connsiteX58" fmla="*/ 1338140 w 1769954"/>
                <a:gd name="connsiteY58" fmla="*/ 85441 h 345708"/>
                <a:gd name="connsiteX59" fmla="*/ 1290819 w 1769954"/>
                <a:gd name="connsiteY59" fmla="*/ 215575 h 345708"/>
                <a:gd name="connsiteX60" fmla="*/ 1338140 w 1769954"/>
                <a:gd name="connsiteY60" fmla="*/ 139335 h 345708"/>
                <a:gd name="connsiteX61" fmla="*/ 1385461 w 1769954"/>
                <a:gd name="connsiteY61" fmla="*/ 215575 h 345708"/>
                <a:gd name="connsiteX62" fmla="*/ 1338140 w 1769954"/>
                <a:gd name="connsiteY62" fmla="*/ 291814 h 345708"/>
                <a:gd name="connsiteX63" fmla="*/ 1290819 w 1769954"/>
                <a:gd name="connsiteY63" fmla="*/ 215575 h 345708"/>
                <a:gd name="connsiteX64" fmla="*/ 1678590 w 1769954"/>
                <a:gd name="connsiteY64" fmla="*/ 85441 h 345708"/>
                <a:gd name="connsiteX65" fmla="*/ 1601693 w 1769954"/>
                <a:gd name="connsiteY65" fmla="*/ 119618 h 345708"/>
                <a:gd name="connsiteX66" fmla="*/ 1600379 w 1769954"/>
                <a:gd name="connsiteY66" fmla="*/ 92671 h 345708"/>
                <a:gd name="connsiteX67" fmla="*/ 1509023 w 1769954"/>
                <a:gd name="connsiteY67" fmla="*/ 92671 h 345708"/>
                <a:gd name="connsiteX68" fmla="*/ 1509023 w 1769954"/>
                <a:gd name="connsiteY68" fmla="*/ 337821 h 345708"/>
                <a:gd name="connsiteX69" fmla="*/ 1601693 w 1769954"/>
                <a:gd name="connsiteY69" fmla="*/ 337821 h 345708"/>
                <a:gd name="connsiteX70" fmla="*/ 1601693 w 1769954"/>
                <a:gd name="connsiteY70" fmla="*/ 197829 h 345708"/>
                <a:gd name="connsiteX71" fmla="*/ 1641785 w 1769954"/>
                <a:gd name="connsiteY71" fmla="*/ 144593 h 345708"/>
                <a:gd name="connsiteX72" fmla="*/ 1677276 w 1769954"/>
                <a:gd name="connsiteY72" fmla="*/ 194543 h 345708"/>
                <a:gd name="connsiteX73" fmla="*/ 1677276 w 1769954"/>
                <a:gd name="connsiteY73" fmla="*/ 338478 h 345708"/>
                <a:gd name="connsiteX74" fmla="*/ 1769947 w 1769954"/>
                <a:gd name="connsiteY74" fmla="*/ 338478 h 345708"/>
                <a:gd name="connsiteX75" fmla="*/ 1769947 w 1769954"/>
                <a:gd name="connsiteY75" fmla="*/ 174169 h 345708"/>
                <a:gd name="connsiteX76" fmla="*/ 1678590 w 1769954"/>
                <a:gd name="connsiteY76" fmla="*/ 85441 h 34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69954" h="345708">
                  <a:moveTo>
                    <a:pt x="196515" y="92671"/>
                  </a:moveTo>
                  <a:lnTo>
                    <a:pt x="99243" y="217546"/>
                  </a:lnTo>
                  <a:lnTo>
                    <a:pt x="194543" y="338478"/>
                  </a:lnTo>
                  <a:lnTo>
                    <a:pt x="84784" y="338478"/>
                  </a:lnTo>
                  <a:lnTo>
                    <a:pt x="0" y="217546"/>
                  </a:lnTo>
                  <a:lnTo>
                    <a:pt x="95300" y="93328"/>
                  </a:lnTo>
                  <a:lnTo>
                    <a:pt x="196515" y="92671"/>
                  </a:lnTo>
                  <a:close/>
                  <a:moveTo>
                    <a:pt x="338478" y="85441"/>
                  </a:moveTo>
                  <a:cubicBezTo>
                    <a:pt x="261581" y="85441"/>
                    <a:pt x="195857" y="124876"/>
                    <a:pt x="195857" y="215575"/>
                  </a:cubicBezTo>
                  <a:cubicBezTo>
                    <a:pt x="195857" y="306274"/>
                    <a:pt x="261581" y="345708"/>
                    <a:pt x="338478" y="345708"/>
                  </a:cubicBezTo>
                  <a:cubicBezTo>
                    <a:pt x="415376" y="345708"/>
                    <a:pt x="481100" y="306274"/>
                    <a:pt x="481100" y="215575"/>
                  </a:cubicBezTo>
                  <a:cubicBezTo>
                    <a:pt x="481757" y="125533"/>
                    <a:pt x="415376" y="85441"/>
                    <a:pt x="338478" y="85441"/>
                  </a:cubicBezTo>
                  <a:close/>
                  <a:moveTo>
                    <a:pt x="291157" y="215575"/>
                  </a:moveTo>
                  <a:cubicBezTo>
                    <a:pt x="291157" y="180741"/>
                    <a:pt x="299701" y="139335"/>
                    <a:pt x="338478" y="139335"/>
                  </a:cubicBezTo>
                  <a:cubicBezTo>
                    <a:pt x="377256" y="139335"/>
                    <a:pt x="385800" y="180741"/>
                    <a:pt x="385800" y="215575"/>
                  </a:cubicBezTo>
                  <a:cubicBezTo>
                    <a:pt x="385800" y="250408"/>
                    <a:pt x="377256" y="291814"/>
                    <a:pt x="338478" y="291814"/>
                  </a:cubicBezTo>
                  <a:cubicBezTo>
                    <a:pt x="299701" y="291814"/>
                    <a:pt x="291157" y="250408"/>
                    <a:pt x="291157" y="215575"/>
                  </a:cubicBezTo>
                  <a:close/>
                  <a:moveTo>
                    <a:pt x="683529" y="85441"/>
                  </a:moveTo>
                  <a:cubicBezTo>
                    <a:pt x="651982" y="85441"/>
                    <a:pt x="627664" y="95300"/>
                    <a:pt x="606632" y="119618"/>
                  </a:cubicBezTo>
                  <a:lnTo>
                    <a:pt x="605318" y="92671"/>
                  </a:lnTo>
                  <a:lnTo>
                    <a:pt x="513962" y="92671"/>
                  </a:lnTo>
                  <a:lnTo>
                    <a:pt x="513962" y="337821"/>
                  </a:lnTo>
                  <a:lnTo>
                    <a:pt x="606632" y="337821"/>
                  </a:lnTo>
                  <a:lnTo>
                    <a:pt x="606632" y="197172"/>
                  </a:lnTo>
                  <a:cubicBezTo>
                    <a:pt x="606632" y="194543"/>
                    <a:pt x="600717" y="143935"/>
                    <a:pt x="646724" y="143935"/>
                  </a:cubicBezTo>
                  <a:cubicBezTo>
                    <a:pt x="675643" y="143935"/>
                    <a:pt x="681558" y="169568"/>
                    <a:pt x="682215" y="193886"/>
                  </a:cubicBezTo>
                  <a:lnTo>
                    <a:pt x="682215" y="337821"/>
                  </a:lnTo>
                  <a:lnTo>
                    <a:pt x="774886" y="337821"/>
                  </a:lnTo>
                  <a:lnTo>
                    <a:pt x="774886" y="173511"/>
                  </a:lnTo>
                  <a:cubicBezTo>
                    <a:pt x="774886" y="119618"/>
                    <a:pt x="736109" y="85441"/>
                    <a:pt x="683529" y="85441"/>
                  </a:cubicBezTo>
                  <a:close/>
                  <a:moveTo>
                    <a:pt x="815635" y="260924"/>
                  </a:moveTo>
                  <a:cubicBezTo>
                    <a:pt x="811034" y="336507"/>
                    <a:pt x="849154" y="345051"/>
                    <a:pt x="912249" y="345051"/>
                  </a:cubicBezTo>
                  <a:cubicBezTo>
                    <a:pt x="926051" y="345051"/>
                    <a:pt x="941167" y="344394"/>
                    <a:pt x="962199" y="340450"/>
                  </a:cubicBezTo>
                  <a:lnTo>
                    <a:pt x="962199" y="285242"/>
                  </a:lnTo>
                  <a:cubicBezTo>
                    <a:pt x="951683" y="286556"/>
                    <a:pt x="938538" y="286556"/>
                    <a:pt x="926708" y="286556"/>
                  </a:cubicBezTo>
                  <a:cubicBezTo>
                    <a:pt x="905019" y="286556"/>
                    <a:pt x="908963" y="255009"/>
                    <a:pt x="908963" y="248437"/>
                  </a:cubicBezTo>
                  <a:lnTo>
                    <a:pt x="908963" y="151165"/>
                  </a:lnTo>
                  <a:lnTo>
                    <a:pt x="962856" y="151165"/>
                  </a:lnTo>
                  <a:lnTo>
                    <a:pt x="962856" y="93328"/>
                  </a:lnTo>
                  <a:lnTo>
                    <a:pt x="908963" y="93328"/>
                  </a:lnTo>
                  <a:lnTo>
                    <a:pt x="908963" y="0"/>
                  </a:lnTo>
                  <a:lnTo>
                    <a:pt x="816292" y="120932"/>
                  </a:lnTo>
                  <a:lnTo>
                    <a:pt x="815635" y="260924"/>
                  </a:lnTo>
                  <a:close/>
                  <a:moveTo>
                    <a:pt x="1097591" y="92671"/>
                  </a:moveTo>
                  <a:lnTo>
                    <a:pt x="1006234" y="92671"/>
                  </a:lnTo>
                  <a:lnTo>
                    <a:pt x="1006234" y="337821"/>
                  </a:lnTo>
                  <a:lnTo>
                    <a:pt x="1098905" y="337821"/>
                  </a:lnTo>
                  <a:lnTo>
                    <a:pt x="1098905" y="239235"/>
                  </a:lnTo>
                  <a:cubicBezTo>
                    <a:pt x="1097591" y="192571"/>
                    <a:pt x="1114022" y="163653"/>
                    <a:pt x="1162657" y="162995"/>
                  </a:cubicBezTo>
                  <a:cubicBezTo>
                    <a:pt x="1169230" y="162995"/>
                    <a:pt x="1175145" y="162995"/>
                    <a:pt x="1182374" y="163653"/>
                  </a:cubicBezTo>
                  <a:lnTo>
                    <a:pt x="1182374" y="85441"/>
                  </a:lnTo>
                  <a:cubicBezTo>
                    <a:pt x="1141626" y="84784"/>
                    <a:pt x="1110735" y="97929"/>
                    <a:pt x="1100219" y="138678"/>
                  </a:cubicBezTo>
                  <a:lnTo>
                    <a:pt x="1099562" y="138678"/>
                  </a:lnTo>
                  <a:lnTo>
                    <a:pt x="1097591" y="92671"/>
                  </a:lnTo>
                  <a:close/>
                  <a:moveTo>
                    <a:pt x="1338140" y="85441"/>
                  </a:moveTo>
                  <a:cubicBezTo>
                    <a:pt x="1261243" y="85441"/>
                    <a:pt x="1195519" y="124876"/>
                    <a:pt x="1195519" y="215575"/>
                  </a:cubicBezTo>
                  <a:cubicBezTo>
                    <a:pt x="1195519" y="306274"/>
                    <a:pt x="1261243" y="345708"/>
                    <a:pt x="1338140" y="345708"/>
                  </a:cubicBezTo>
                  <a:cubicBezTo>
                    <a:pt x="1415037" y="345708"/>
                    <a:pt x="1480761" y="306274"/>
                    <a:pt x="1480761" y="215575"/>
                  </a:cubicBezTo>
                  <a:cubicBezTo>
                    <a:pt x="1480761" y="124876"/>
                    <a:pt x="1414380" y="85441"/>
                    <a:pt x="1338140" y="85441"/>
                  </a:cubicBezTo>
                  <a:close/>
                  <a:moveTo>
                    <a:pt x="1290819" y="215575"/>
                  </a:moveTo>
                  <a:cubicBezTo>
                    <a:pt x="1290819" y="180741"/>
                    <a:pt x="1299363" y="139335"/>
                    <a:pt x="1338140" y="139335"/>
                  </a:cubicBezTo>
                  <a:cubicBezTo>
                    <a:pt x="1376917" y="139335"/>
                    <a:pt x="1385461" y="180741"/>
                    <a:pt x="1385461" y="215575"/>
                  </a:cubicBezTo>
                  <a:cubicBezTo>
                    <a:pt x="1385461" y="250408"/>
                    <a:pt x="1376917" y="291814"/>
                    <a:pt x="1338140" y="291814"/>
                  </a:cubicBezTo>
                  <a:cubicBezTo>
                    <a:pt x="1298706" y="291814"/>
                    <a:pt x="1290819" y="250408"/>
                    <a:pt x="1290819" y="215575"/>
                  </a:cubicBezTo>
                  <a:close/>
                  <a:moveTo>
                    <a:pt x="1678590" y="85441"/>
                  </a:moveTo>
                  <a:cubicBezTo>
                    <a:pt x="1647043" y="85441"/>
                    <a:pt x="1622725" y="95300"/>
                    <a:pt x="1601693" y="119618"/>
                  </a:cubicBezTo>
                  <a:lnTo>
                    <a:pt x="1600379" y="92671"/>
                  </a:lnTo>
                  <a:lnTo>
                    <a:pt x="1509023" y="92671"/>
                  </a:lnTo>
                  <a:lnTo>
                    <a:pt x="1509023" y="337821"/>
                  </a:lnTo>
                  <a:lnTo>
                    <a:pt x="1601693" y="337821"/>
                  </a:lnTo>
                  <a:lnTo>
                    <a:pt x="1601693" y="197829"/>
                  </a:lnTo>
                  <a:cubicBezTo>
                    <a:pt x="1601693" y="195200"/>
                    <a:pt x="1595778" y="144593"/>
                    <a:pt x="1641785" y="144593"/>
                  </a:cubicBezTo>
                  <a:cubicBezTo>
                    <a:pt x="1670704" y="144593"/>
                    <a:pt x="1676619" y="170225"/>
                    <a:pt x="1677276" y="194543"/>
                  </a:cubicBezTo>
                  <a:lnTo>
                    <a:pt x="1677276" y="338478"/>
                  </a:lnTo>
                  <a:lnTo>
                    <a:pt x="1769947" y="338478"/>
                  </a:lnTo>
                  <a:lnTo>
                    <a:pt x="1769947" y="174169"/>
                  </a:lnTo>
                  <a:cubicBezTo>
                    <a:pt x="1770604" y="119618"/>
                    <a:pt x="1731170" y="85441"/>
                    <a:pt x="1678590" y="85441"/>
                  </a:cubicBezTo>
                  <a:close/>
                </a:path>
              </a:pathLst>
            </a:custGeom>
            <a:solidFill>
              <a:schemeClr val="accent1"/>
            </a:solidFill>
            <a:ln w="6540" cap="flat">
              <a:noFill/>
              <a:prstDash val="solid"/>
              <a:miter/>
            </a:ln>
          </p:spPr>
          <p:txBody>
            <a:bodyPr rtlCol="0" anchor="ctr"/>
            <a:lstStyle/>
            <a:p>
              <a:endParaRPr lang="en-GB" dirty="0"/>
            </a:p>
          </p:txBody>
        </p:sp>
      </p:grpSp>
      <p:sp>
        <p:nvSpPr>
          <p:cNvPr id="17" name="Freihandform: Form 16">
            <a:extLst>
              <a:ext uri="{FF2B5EF4-FFF2-40B4-BE49-F238E27FC236}">
                <a16:creationId xmlns:a16="http://schemas.microsoft.com/office/drawing/2014/main" id="{675F2880-19CC-BBF2-2E3B-2761451B6DF3}"/>
              </a:ext>
            </a:extLst>
          </p:cNvPr>
          <p:cNvSpPr/>
          <p:nvPr userDrawn="1"/>
        </p:nvSpPr>
        <p:spPr>
          <a:xfrm>
            <a:off x="0" y="0"/>
            <a:ext cx="8181110" cy="6858000"/>
          </a:xfrm>
          <a:custGeom>
            <a:avLst/>
            <a:gdLst>
              <a:gd name="connsiteX0" fmla="*/ 0 w 8181110"/>
              <a:gd name="connsiteY0" fmla="*/ 0 h 6858000"/>
              <a:gd name="connsiteX1" fmla="*/ 254256 w 8181110"/>
              <a:gd name="connsiteY1" fmla="*/ 0 h 6858000"/>
              <a:gd name="connsiteX2" fmla="*/ 6101266 w 8181110"/>
              <a:gd name="connsiteY2" fmla="*/ 0 h 6858000"/>
              <a:gd name="connsiteX3" fmla="*/ 8181110 w 8181110"/>
              <a:gd name="connsiteY3" fmla="*/ 2774239 h 6858000"/>
              <a:gd name="connsiteX4" fmla="*/ 5383310 w 8181110"/>
              <a:gd name="connsiteY4" fmla="*/ 6858000 h 6858000"/>
              <a:gd name="connsiteX5" fmla="*/ 0 w 818111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81110" h="6858000">
                <a:moveTo>
                  <a:pt x="0" y="0"/>
                </a:moveTo>
                <a:lnTo>
                  <a:pt x="254256" y="0"/>
                </a:lnTo>
                <a:lnTo>
                  <a:pt x="6101266" y="0"/>
                </a:lnTo>
                <a:lnTo>
                  <a:pt x="8181110" y="2774239"/>
                </a:lnTo>
                <a:lnTo>
                  <a:pt x="5383310" y="6858000"/>
                </a:lnTo>
                <a:lnTo>
                  <a:pt x="0" y="6858000"/>
                </a:lnTo>
                <a:close/>
              </a:path>
            </a:pathLst>
          </a:custGeom>
          <a:gradFill>
            <a:gsLst>
              <a:gs pos="11000">
                <a:schemeClr val="accent1"/>
              </a:gs>
              <a:gs pos="100000">
                <a:schemeClr val="accent3"/>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el 1">
            <a:extLst>
              <a:ext uri="{FF2B5EF4-FFF2-40B4-BE49-F238E27FC236}">
                <a16:creationId xmlns:a16="http://schemas.microsoft.com/office/drawing/2014/main" id="{A9080A38-DB3C-CC3A-88A7-FDEA5D2E4CC1}"/>
              </a:ext>
            </a:extLst>
          </p:cNvPr>
          <p:cNvSpPr>
            <a:spLocks noGrp="1"/>
          </p:cNvSpPr>
          <p:nvPr>
            <p:ph type="title" hasCustomPrompt="1"/>
          </p:nvPr>
        </p:nvSpPr>
        <p:spPr>
          <a:xfrm>
            <a:off x="695325" y="1628775"/>
            <a:ext cx="3484789" cy="738664"/>
          </a:xfrm>
        </p:spPr>
        <p:txBody>
          <a:bodyPr vert="horz"/>
          <a:lstStyle>
            <a:lvl1pPr>
              <a:defRPr lang="en-US" sz="4800" b="1" kern="1200" dirty="0">
                <a:solidFill>
                  <a:schemeClr val="bg1"/>
                </a:solidFill>
                <a:latin typeface="+mj-lt"/>
                <a:ea typeface="+mn-ea"/>
                <a:cs typeface="+mn-cs"/>
              </a:defRPr>
            </a:lvl1pPr>
          </a:lstStyle>
          <a:p>
            <a:pPr marL="0" lvl="0" indent="0" algn="l" defTabSz="914400" rtl="0" eaLnBrk="1" latinLnBrk="0" hangingPunct="1">
              <a:lnSpc>
                <a:spcPct val="100000"/>
              </a:lnSpc>
              <a:spcBef>
                <a:spcPts val="300"/>
              </a:spcBef>
              <a:buClr>
                <a:schemeClr val="accent1"/>
              </a:buClr>
              <a:buFont typeface="Calibri Light" panose="020F0302020204030204" pitchFamily="34" charset="0"/>
              <a:buNone/>
            </a:pPr>
            <a:r>
              <a:rPr lang="de-DE" dirty="0"/>
              <a:t>Contact</a:t>
            </a:r>
            <a:endParaRPr lang="en-US" dirty="0"/>
          </a:p>
        </p:txBody>
      </p:sp>
      <p:sp>
        <p:nvSpPr>
          <p:cNvPr id="10" name="Textplatzhalter 9">
            <a:extLst>
              <a:ext uri="{FF2B5EF4-FFF2-40B4-BE49-F238E27FC236}">
                <a16:creationId xmlns:a16="http://schemas.microsoft.com/office/drawing/2014/main" id="{0B85B51E-B209-0343-E399-C7318A9BF9A1}"/>
              </a:ext>
            </a:extLst>
          </p:cNvPr>
          <p:cNvSpPr>
            <a:spLocks noGrp="1"/>
          </p:cNvSpPr>
          <p:nvPr>
            <p:ph type="body" sz="quarter" idx="10" hasCustomPrompt="1"/>
          </p:nvPr>
        </p:nvSpPr>
        <p:spPr>
          <a:xfrm>
            <a:off x="695325" y="2700338"/>
            <a:ext cx="3484789" cy="1465262"/>
          </a:xfrm>
        </p:spPr>
        <p:txBody>
          <a:bodyPr/>
          <a:lstStyle>
            <a:lvl1pPr marL="0" indent="0">
              <a:buNone/>
              <a:defRPr>
                <a:solidFill>
                  <a:schemeClr val="bg1"/>
                </a:solidFill>
              </a:defRPr>
            </a:lvl1pPr>
            <a:lvl2pPr marL="216000" indent="0">
              <a:buNone/>
              <a:defRPr>
                <a:solidFill>
                  <a:schemeClr val="bg1"/>
                </a:solidFill>
              </a:defRPr>
            </a:lvl2pPr>
            <a:lvl3pPr marL="432000" indent="0">
              <a:buNone/>
              <a:defRPr>
                <a:solidFill>
                  <a:schemeClr val="bg1"/>
                </a:solidFill>
              </a:defRPr>
            </a:lvl3pPr>
            <a:lvl4pPr marL="648000" indent="0">
              <a:buNone/>
              <a:defRPr>
                <a:solidFill>
                  <a:schemeClr val="bg1"/>
                </a:solidFill>
              </a:defRPr>
            </a:lvl4pPr>
            <a:lvl5pPr marL="864000" indent="0">
              <a:buNone/>
              <a:defRPr>
                <a:solidFill>
                  <a:schemeClr val="bg1"/>
                </a:solidFill>
              </a:defRPr>
            </a:lvl5pPr>
          </a:lstStyle>
          <a:p>
            <a:pPr lvl="0"/>
            <a:r>
              <a:rPr lang="de-DE" dirty="0"/>
              <a:t>Name </a:t>
            </a:r>
            <a:r>
              <a:rPr lang="de-DE" dirty="0" err="1"/>
              <a:t>Surname</a:t>
            </a:r>
            <a:endParaRPr lang="de-DE" dirty="0"/>
          </a:p>
          <a:p>
            <a:pPr lvl="0"/>
            <a:r>
              <a:rPr lang="de-DE" dirty="0"/>
              <a:t>Job title</a:t>
            </a:r>
          </a:p>
          <a:p>
            <a:pPr lvl="0"/>
            <a:r>
              <a:rPr lang="de-DE" dirty="0"/>
              <a:t>Email</a:t>
            </a:r>
          </a:p>
          <a:p>
            <a:pPr lvl="0"/>
            <a:r>
              <a:rPr lang="de-DE" dirty="0" err="1"/>
              <a:t>Telephone</a:t>
            </a:r>
            <a:endParaRPr lang="en-US" dirty="0"/>
          </a:p>
        </p:txBody>
      </p:sp>
      <p:cxnSp>
        <p:nvCxnSpPr>
          <p:cNvPr id="15" name="Gerader Verbinder 14">
            <a:extLst>
              <a:ext uri="{FF2B5EF4-FFF2-40B4-BE49-F238E27FC236}">
                <a16:creationId xmlns:a16="http://schemas.microsoft.com/office/drawing/2014/main" id="{B71FF52F-D18F-B73D-C713-8CDC6A514BC3}"/>
              </a:ext>
            </a:extLst>
          </p:cNvPr>
          <p:cNvCxnSpPr>
            <a:cxnSpLocks/>
          </p:cNvCxnSpPr>
          <p:nvPr userDrawn="1"/>
        </p:nvCxnSpPr>
        <p:spPr>
          <a:xfrm>
            <a:off x="695324" y="2533889"/>
            <a:ext cx="68961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feld 19">
            <a:extLst>
              <a:ext uri="{FF2B5EF4-FFF2-40B4-BE49-F238E27FC236}">
                <a16:creationId xmlns:a16="http://schemas.microsoft.com/office/drawing/2014/main" id="{1D00B242-845E-89D0-F742-8A8458C08027}"/>
              </a:ext>
            </a:extLst>
          </p:cNvPr>
          <p:cNvSpPr txBox="1"/>
          <p:nvPr userDrawn="1"/>
        </p:nvSpPr>
        <p:spPr>
          <a:xfrm>
            <a:off x="9938597" y="5136987"/>
            <a:ext cx="1558078" cy="1100301"/>
          </a:xfrm>
          <a:prstGeom prst="rect">
            <a:avLst/>
          </a:prstGeom>
          <a:noFill/>
        </p:spPr>
        <p:txBody>
          <a:bodyPr wrap="square" lIns="0" tIns="0" rIns="0" bIns="0" rtlCol="0">
            <a:spAutoFit/>
          </a:bodyPr>
          <a:lstStyle/>
          <a:p>
            <a:pPr>
              <a:lnSpc>
                <a:spcPct val="100000"/>
              </a:lnSpc>
              <a:spcBef>
                <a:spcPts val="0"/>
              </a:spcBef>
              <a:spcAft>
                <a:spcPts val="300"/>
              </a:spcAft>
            </a:pPr>
            <a:r>
              <a:rPr lang="en-US" sz="1600" b="1" dirty="0">
                <a:solidFill>
                  <a:schemeClr val="accent1"/>
                </a:solidFill>
                <a:latin typeface="+mj-lt"/>
              </a:rPr>
              <a:t>Kontron AG</a:t>
            </a:r>
          </a:p>
          <a:p>
            <a:pPr>
              <a:lnSpc>
                <a:spcPct val="100000"/>
              </a:lnSpc>
              <a:spcBef>
                <a:spcPts val="0"/>
              </a:spcBef>
              <a:spcAft>
                <a:spcPts val="300"/>
              </a:spcAft>
            </a:pPr>
            <a:r>
              <a:rPr kumimoji="0" lang="de-DE" sz="1600" b="0" i="0" u="none" strike="noStrike" kern="1200" cap="none" spc="0" normalizeH="0" baseline="0" noProof="0" dirty="0">
                <a:ln>
                  <a:noFill/>
                </a:ln>
                <a:solidFill>
                  <a:schemeClr val="tx2"/>
                </a:solidFill>
                <a:effectLst/>
                <a:uLnTx/>
                <a:uFillTx/>
                <a:latin typeface="+mn-lt"/>
                <a:ea typeface="+mn-ea"/>
                <a:cs typeface="+mn-cs"/>
              </a:rPr>
              <a:t>Industriezeile 35</a:t>
            </a:r>
          </a:p>
          <a:p>
            <a:pPr marL="0" marR="0" lvl="0" indent="0" algn="l" defTabSz="1219170" rtl="0" eaLnBrk="1" fontAlgn="auto" latinLnBrk="0" hangingPunct="1">
              <a:lnSpc>
                <a:spcPct val="100000"/>
              </a:lnSpc>
              <a:spcBef>
                <a:spcPts val="0"/>
              </a:spcBef>
              <a:spcAft>
                <a:spcPts val="300"/>
              </a:spcAft>
              <a:buClrTx/>
              <a:buSzPct val="70000"/>
              <a:buFont typeface="Arial" pitchFamily="34" charset="0"/>
              <a:buNone/>
              <a:tabLst/>
              <a:defRPr/>
            </a:pPr>
            <a:r>
              <a:rPr kumimoji="0" lang="de-DE" sz="1600" b="0" i="0" u="none" strike="noStrike" kern="1200" cap="none" spc="0" normalizeH="0" baseline="0" noProof="0" dirty="0">
                <a:ln>
                  <a:noFill/>
                </a:ln>
                <a:solidFill>
                  <a:schemeClr val="tx2"/>
                </a:solidFill>
                <a:effectLst/>
                <a:uLnTx/>
                <a:uFillTx/>
                <a:latin typeface="+mn-lt"/>
                <a:ea typeface="+mn-ea"/>
                <a:cs typeface="+mn-cs"/>
              </a:rPr>
              <a:t>A-4020 Linz</a:t>
            </a:r>
          </a:p>
          <a:p>
            <a:pPr marL="0" marR="0" lvl="0" indent="0" algn="l" defTabSz="1219170" rtl="0" eaLnBrk="1" fontAlgn="auto" latinLnBrk="0" hangingPunct="1">
              <a:lnSpc>
                <a:spcPct val="100000"/>
              </a:lnSpc>
              <a:spcBef>
                <a:spcPts val="0"/>
              </a:spcBef>
              <a:spcAft>
                <a:spcPts val="300"/>
              </a:spcAft>
              <a:buClrTx/>
              <a:buSzPct val="70000"/>
              <a:buFont typeface="Arial" pitchFamily="34" charset="0"/>
              <a:buNone/>
              <a:tabLst/>
              <a:defRPr/>
            </a:pPr>
            <a:r>
              <a:rPr kumimoji="0" lang="de-DE" sz="1600" b="0" i="0" u="none" strike="noStrike" kern="1200" cap="none" spc="0" normalizeH="0" baseline="0" noProof="0" dirty="0">
                <a:ln>
                  <a:noFill/>
                </a:ln>
                <a:solidFill>
                  <a:schemeClr val="tx2"/>
                </a:solidFill>
                <a:effectLst/>
                <a:uLnTx/>
                <a:uFillTx/>
                <a:latin typeface="+mn-lt"/>
                <a:ea typeface="+mn-ea"/>
                <a:cs typeface="+mn-cs"/>
              </a:rPr>
              <a:t>www.kontron.com</a:t>
            </a:r>
          </a:p>
        </p:txBody>
      </p:sp>
    </p:spTree>
    <p:extLst>
      <p:ext uri="{BB962C8B-B14F-4D97-AF65-F5344CB8AC3E}">
        <p14:creationId xmlns:p14="http://schemas.microsoft.com/office/powerpoint/2010/main" val="36950047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98306A33-A85C-BD6A-EC43-FAC555D971FC}"/>
              </a:ext>
            </a:extLst>
          </p:cNvPr>
          <p:cNvGraphicFramePr>
            <a:graphicFrameLocks noChangeAspect="1"/>
          </p:cNvGraphicFramePr>
          <p:nvPr userDrawn="1">
            <p:custDataLst>
              <p:tags r:id="rId1"/>
            </p:custDataLst>
            <p:extLst>
              <p:ext uri="{D42A27DB-BD31-4B8C-83A1-F6EECF244321}">
                <p14:modId xmlns:p14="http://schemas.microsoft.com/office/powerpoint/2010/main" val="1714701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3" name="think-cell data - do not delete" hidden="1">
                        <a:extLst>
                          <a:ext uri="{FF2B5EF4-FFF2-40B4-BE49-F238E27FC236}">
                            <a16:creationId xmlns:a16="http://schemas.microsoft.com/office/drawing/2014/main" id="{98306A33-A85C-BD6A-EC43-FAC555D971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Freihandform: Form 25">
            <a:extLst>
              <a:ext uri="{FF2B5EF4-FFF2-40B4-BE49-F238E27FC236}">
                <a16:creationId xmlns:a16="http://schemas.microsoft.com/office/drawing/2014/main" id="{8581936F-09FC-81BC-BD22-D597D6F7651D}"/>
              </a:ext>
            </a:extLst>
          </p:cNvPr>
          <p:cNvSpPr/>
          <p:nvPr userDrawn="1"/>
        </p:nvSpPr>
        <p:spPr>
          <a:xfrm>
            <a:off x="0" y="0"/>
            <a:ext cx="8181110" cy="6858000"/>
          </a:xfrm>
          <a:custGeom>
            <a:avLst/>
            <a:gdLst>
              <a:gd name="connsiteX0" fmla="*/ 0 w 8181110"/>
              <a:gd name="connsiteY0" fmla="*/ 0 h 6858000"/>
              <a:gd name="connsiteX1" fmla="*/ 254256 w 8181110"/>
              <a:gd name="connsiteY1" fmla="*/ 0 h 6858000"/>
              <a:gd name="connsiteX2" fmla="*/ 6101266 w 8181110"/>
              <a:gd name="connsiteY2" fmla="*/ 0 h 6858000"/>
              <a:gd name="connsiteX3" fmla="*/ 8181110 w 8181110"/>
              <a:gd name="connsiteY3" fmla="*/ 2774239 h 6858000"/>
              <a:gd name="connsiteX4" fmla="*/ 5383310 w 8181110"/>
              <a:gd name="connsiteY4" fmla="*/ 6858000 h 6858000"/>
              <a:gd name="connsiteX5" fmla="*/ 0 w 818111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81110" h="6858000">
                <a:moveTo>
                  <a:pt x="0" y="0"/>
                </a:moveTo>
                <a:lnTo>
                  <a:pt x="254256" y="0"/>
                </a:lnTo>
                <a:lnTo>
                  <a:pt x="6101266" y="0"/>
                </a:lnTo>
                <a:lnTo>
                  <a:pt x="8181110" y="2774239"/>
                </a:lnTo>
                <a:lnTo>
                  <a:pt x="5383310" y="6858000"/>
                </a:lnTo>
                <a:lnTo>
                  <a:pt x="0" y="6858000"/>
                </a:lnTo>
                <a:close/>
              </a:path>
            </a:pathLst>
          </a:custGeom>
          <a:gradFill>
            <a:gsLst>
              <a:gs pos="11000">
                <a:schemeClr val="accent1"/>
              </a:gs>
              <a:gs pos="100000">
                <a:schemeClr val="accent3"/>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5" name="Bildplatzhalter 24">
            <a:extLst>
              <a:ext uri="{FF2B5EF4-FFF2-40B4-BE49-F238E27FC236}">
                <a16:creationId xmlns:a16="http://schemas.microsoft.com/office/drawing/2014/main" id="{7382CEFB-36FA-B7D0-D5BD-51FBC682F11E}"/>
              </a:ext>
            </a:extLst>
          </p:cNvPr>
          <p:cNvSpPr>
            <a:spLocks noGrp="1"/>
          </p:cNvSpPr>
          <p:nvPr>
            <p:ph type="pic" sz="quarter" idx="12" hasCustomPrompt="1"/>
          </p:nvPr>
        </p:nvSpPr>
        <p:spPr>
          <a:xfrm>
            <a:off x="5383311" y="0"/>
            <a:ext cx="6808689" cy="6858000"/>
          </a:xfrm>
          <a:custGeom>
            <a:avLst/>
            <a:gdLst>
              <a:gd name="connsiteX0" fmla="*/ 717956 w 6808689"/>
              <a:gd name="connsiteY0" fmla="*/ 0 h 6858000"/>
              <a:gd name="connsiteX1" fmla="*/ 6808689 w 6808689"/>
              <a:gd name="connsiteY1" fmla="*/ 0 h 6858000"/>
              <a:gd name="connsiteX2" fmla="*/ 6808689 w 6808689"/>
              <a:gd name="connsiteY2" fmla="*/ 6858000 h 6858000"/>
              <a:gd name="connsiteX3" fmla="*/ 0 w 6808689"/>
              <a:gd name="connsiteY3" fmla="*/ 6858000 h 6858000"/>
              <a:gd name="connsiteX4" fmla="*/ 2797800 w 6808689"/>
              <a:gd name="connsiteY4" fmla="*/ 2774239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8689" h="6858000">
                <a:moveTo>
                  <a:pt x="717956" y="0"/>
                </a:moveTo>
                <a:lnTo>
                  <a:pt x="6808689" y="0"/>
                </a:lnTo>
                <a:lnTo>
                  <a:pt x="6808689" y="6858000"/>
                </a:lnTo>
                <a:lnTo>
                  <a:pt x="0" y="6858000"/>
                </a:lnTo>
                <a:lnTo>
                  <a:pt x="2797800" y="2774239"/>
                </a:lnTo>
                <a:close/>
              </a:path>
            </a:pathLst>
          </a:custGeom>
          <a:solidFill>
            <a:schemeClr val="bg2"/>
          </a:solidFill>
        </p:spPr>
        <p:txBody>
          <a:bodyPr wrap="square" lIns="144000" tIns="144000" rIns="144000" bIns="144000">
            <a:noAutofit/>
          </a:bodyPr>
          <a:lstStyle>
            <a:lvl1pPr marL="0" indent="0" algn="r">
              <a:buNone/>
              <a:defRPr sz="1400"/>
            </a:lvl1pPr>
          </a:lstStyle>
          <a:p>
            <a:r>
              <a:rPr lang="en-US" dirty="0"/>
              <a:t>Please click on icon to insert image</a:t>
            </a:r>
          </a:p>
        </p:txBody>
      </p:sp>
      <p:grpSp>
        <p:nvGrpSpPr>
          <p:cNvPr id="7" name="Gruppieren 6">
            <a:extLst>
              <a:ext uri="{FF2B5EF4-FFF2-40B4-BE49-F238E27FC236}">
                <a16:creationId xmlns:a16="http://schemas.microsoft.com/office/drawing/2014/main" id="{12F208CD-1CE6-1DAC-8BCF-6E5E55F18B37}"/>
              </a:ext>
            </a:extLst>
          </p:cNvPr>
          <p:cNvGrpSpPr/>
          <p:nvPr userDrawn="1"/>
        </p:nvGrpSpPr>
        <p:grpSpPr>
          <a:xfrm>
            <a:off x="695324" y="1628775"/>
            <a:ext cx="2998881" cy="568325"/>
            <a:chOff x="10407695" y="441325"/>
            <a:chExt cx="1088979" cy="206375"/>
          </a:xfrm>
          <a:solidFill>
            <a:schemeClr val="bg1"/>
          </a:solidFill>
        </p:grpSpPr>
        <p:sp>
          <p:nvSpPr>
            <p:cNvPr id="8" name="Freeform: Shape 10">
              <a:extLst>
                <a:ext uri="{FF2B5EF4-FFF2-40B4-BE49-F238E27FC236}">
                  <a16:creationId xmlns:a16="http://schemas.microsoft.com/office/drawing/2014/main" id="{E10352DA-2D37-399C-2756-05D9EF45CC57}"/>
                </a:ext>
              </a:extLst>
            </p:cNvPr>
            <p:cNvSpPr/>
            <p:nvPr/>
          </p:nvSpPr>
          <p:spPr>
            <a:xfrm>
              <a:off x="10407695" y="441325"/>
              <a:ext cx="54179" cy="202059"/>
            </a:xfrm>
            <a:custGeom>
              <a:avLst/>
              <a:gdLst>
                <a:gd name="connsiteX0" fmla="*/ 92671 w 92670"/>
                <a:gd name="connsiteY0" fmla="*/ 0 h 338478"/>
                <a:gd name="connsiteX1" fmla="*/ 0 w 92670"/>
                <a:gd name="connsiteY1" fmla="*/ 0 h 338478"/>
                <a:gd name="connsiteX2" fmla="*/ 0 w 92670"/>
                <a:gd name="connsiteY2" fmla="*/ 338478 h 338478"/>
                <a:gd name="connsiteX3" fmla="*/ 92671 w 92670"/>
                <a:gd name="connsiteY3" fmla="*/ 217546 h 338478"/>
              </a:gdLst>
              <a:ahLst/>
              <a:cxnLst>
                <a:cxn ang="0">
                  <a:pos x="connsiteX0" y="connsiteY0"/>
                </a:cxn>
                <a:cxn ang="0">
                  <a:pos x="connsiteX1" y="connsiteY1"/>
                </a:cxn>
                <a:cxn ang="0">
                  <a:pos x="connsiteX2" y="connsiteY2"/>
                </a:cxn>
                <a:cxn ang="0">
                  <a:pos x="connsiteX3" y="connsiteY3"/>
                </a:cxn>
              </a:cxnLst>
              <a:rect l="l" t="t" r="r" b="b"/>
              <a:pathLst>
                <a:path w="92670" h="338478">
                  <a:moveTo>
                    <a:pt x="92671" y="0"/>
                  </a:moveTo>
                  <a:lnTo>
                    <a:pt x="0" y="0"/>
                  </a:lnTo>
                  <a:lnTo>
                    <a:pt x="0" y="338478"/>
                  </a:lnTo>
                  <a:lnTo>
                    <a:pt x="92671" y="217546"/>
                  </a:lnTo>
                  <a:close/>
                </a:path>
              </a:pathLst>
            </a:custGeom>
            <a:grpFill/>
            <a:ln w="6540" cap="flat">
              <a:noFill/>
              <a:prstDash val="solid"/>
              <a:miter/>
            </a:ln>
          </p:spPr>
          <p:txBody>
            <a:bodyPr rtlCol="0" anchor="ctr"/>
            <a:lstStyle/>
            <a:p>
              <a:endParaRPr lang="en-GB"/>
            </a:p>
          </p:txBody>
        </p:sp>
        <p:sp>
          <p:nvSpPr>
            <p:cNvPr id="9" name="Freeform: Shape 11">
              <a:extLst>
                <a:ext uri="{FF2B5EF4-FFF2-40B4-BE49-F238E27FC236}">
                  <a16:creationId xmlns:a16="http://schemas.microsoft.com/office/drawing/2014/main" id="{FAADBCD9-86C9-65F5-433D-13B99509CD67}"/>
                </a:ext>
              </a:extLst>
            </p:cNvPr>
            <p:cNvSpPr/>
            <p:nvPr/>
          </p:nvSpPr>
          <p:spPr>
            <a:xfrm>
              <a:off x="10461874" y="441325"/>
              <a:ext cx="1034800" cy="206375"/>
            </a:xfrm>
            <a:custGeom>
              <a:avLst/>
              <a:gdLst>
                <a:gd name="connsiteX0" fmla="*/ 196515 w 1769954"/>
                <a:gd name="connsiteY0" fmla="*/ 92671 h 345708"/>
                <a:gd name="connsiteX1" fmla="*/ 99243 w 1769954"/>
                <a:gd name="connsiteY1" fmla="*/ 217546 h 345708"/>
                <a:gd name="connsiteX2" fmla="*/ 194543 w 1769954"/>
                <a:gd name="connsiteY2" fmla="*/ 338478 h 345708"/>
                <a:gd name="connsiteX3" fmla="*/ 84784 w 1769954"/>
                <a:gd name="connsiteY3" fmla="*/ 338478 h 345708"/>
                <a:gd name="connsiteX4" fmla="*/ 0 w 1769954"/>
                <a:gd name="connsiteY4" fmla="*/ 217546 h 345708"/>
                <a:gd name="connsiteX5" fmla="*/ 95300 w 1769954"/>
                <a:gd name="connsiteY5" fmla="*/ 93328 h 345708"/>
                <a:gd name="connsiteX6" fmla="*/ 196515 w 1769954"/>
                <a:gd name="connsiteY6" fmla="*/ 92671 h 345708"/>
                <a:gd name="connsiteX7" fmla="*/ 338478 w 1769954"/>
                <a:gd name="connsiteY7" fmla="*/ 85441 h 345708"/>
                <a:gd name="connsiteX8" fmla="*/ 195857 w 1769954"/>
                <a:gd name="connsiteY8" fmla="*/ 215575 h 345708"/>
                <a:gd name="connsiteX9" fmla="*/ 338478 w 1769954"/>
                <a:gd name="connsiteY9" fmla="*/ 345708 h 345708"/>
                <a:gd name="connsiteX10" fmla="*/ 481100 w 1769954"/>
                <a:gd name="connsiteY10" fmla="*/ 215575 h 345708"/>
                <a:gd name="connsiteX11" fmla="*/ 338478 w 1769954"/>
                <a:gd name="connsiteY11" fmla="*/ 85441 h 345708"/>
                <a:gd name="connsiteX12" fmla="*/ 291157 w 1769954"/>
                <a:gd name="connsiteY12" fmla="*/ 215575 h 345708"/>
                <a:gd name="connsiteX13" fmla="*/ 338478 w 1769954"/>
                <a:gd name="connsiteY13" fmla="*/ 139335 h 345708"/>
                <a:gd name="connsiteX14" fmla="*/ 385800 w 1769954"/>
                <a:gd name="connsiteY14" fmla="*/ 215575 h 345708"/>
                <a:gd name="connsiteX15" fmla="*/ 338478 w 1769954"/>
                <a:gd name="connsiteY15" fmla="*/ 291814 h 345708"/>
                <a:gd name="connsiteX16" fmla="*/ 291157 w 1769954"/>
                <a:gd name="connsiteY16" fmla="*/ 215575 h 345708"/>
                <a:gd name="connsiteX17" fmla="*/ 683529 w 1769954"/>
                <a:gd name="connsiteY17" fmla="*/ 85441 h 345708"/>
                <a:gd name="connsiteX18" fmla="*/ 606632 w 1769954"/>
                <a:gd name="connsiteY18" fmla="*/ 119618 h 345708"/>
                <a:gd name="connsiteX19" fmla="*/ 605318 w 1769954"/>
                <a:gd name="connsiteY19" fmla="*/ 92671 h 345708"/>
                <a:gd name="connsiteX20" fmla="*/ 513962 w 1769954"/>
                <a:gd name="connsiteY20" fmla="*/ 92671 h 345708"/>
                <a:gd name="connsiteX21" fmla="*/ 513962 w 1769954"/>
                <a:gd name="connsiteY21" fmla="*/ 337821 h 345708"/>
                <a:gd name="connsiteX22" fmla="*/ 606632 w 1769954"/>
                <a:gd name="connsiteY22" fmla="*/ 337821 h 345708"/>
                <a:gd name="connsiteX23" fmla="*/ 606632 w 1769954"/>
                <a:gd name="connsiteY23" fmla="*/ 197172 h 345708"/>
                <a:gd name="connsiteX24" fmla="*/ 646724 w 1769954"/>
                <a:gd name="connsiteY24" fmla="*/ 143935 h 345708"/>
                <a:gd name="connsiteX25" fmla="*/ 682215 w 1769954"/>
                <a:gd name="connsiteY25" fmla="*/ 193886 h 345708"/>
                <a:gd name="connsiteX26" fmla="*/ 682215 w 1769954"/>
                <a:gd name="connsiteY26" fmla="*/ 337821 h 345708"/>
                <a:gd name="connsiteX27" fmla="*/ 774886 w 1769954"/>
                <a:gd name="connsiteY27" fmla="*/ 337821 h 345708"/>
                <a:gd name="connsiteX28" fmla="*/ 774886 w 1769954"/>
                <a:gd name="connsiteY28" fmla="*/ 173511 h 345708"/>
                <a:gd name="connsiteX29" fmla="*/ 683529 w 1769954"/>
                <a:gd name="connsiteY29" fmla="*/ 85441 h 345708"/>
                <a:gd name="connsiteX30" fmla="*/ 815635 w 1769954"/>
                <a:gd name="connsiteY30" fmla="*/ 260924 h 345708"/>
                <a:gd name="connsiteX31" fmla="*/ 912249 w 1769954"/>
                <a:gd name="connsiteY31" fmla="*/ 345051 h 345708"/>
                <a:gd name="connsiteX32" fmla="*/ 962199 w 1769954"/>
                <a:gd name="connsiteY32" fmla="*/ 340450 h 345708"/>
                <a:gd name="connsiteX33" fmla="*/ 962199 w 1769954"/>
                <a:gd name="connsiteY33" fmla="*/ 285242 h 345708"/>
                <a:gd name="connsiteX34" fmla="*/ 926708 w 1769954"/>
                <a:gd name="connsiteY34" fmla="*/ 286556 h 345708"/>
                <a:gd name="connsiteX35" fmla="*/ 908963 w 1769954"/>
                <a:gd name="connsiteY35" fmla="*/ 248437 h 345708"/>
                <a:gd name="connsiteX36" fmla="*/ 908963 w 1769954"/>
                <a:gd name="connsiteY36" fmla="*/ 151165 h 345708"/>
                <a:gd name="connsiteX37" fmla="*/ 962856 w 1769954"/>
                <a:gd name="connsiteY37" fmla="*/ 151165 h 345708"/>
                <a:gd name="connsiteX38" fmla="*/ 962856 w 1769954"/>
                <a:gd name="connsiteY38" fmla="*/ 93328 h 345708"/>
                <a:gd name="connsiteX39" fmla="*/ 908963 w 1769954"/>
                <a:gd name="connsiteY39" fmla="*/ 93328 h 345708"/>
                <a:gd name="connsiteX40" fmla="*/ 908963 w 1769954"/>
                <a:gd name="connsiteY40" fmla="*/ 0 h 345708"/>
                <a:gd name="connsiteX41" fmla="*/ 816292 w 1769954"/>
                <a:gd name="connsiteY41" fmla="*/ 120932 h 345708"/>
                <a:gd name="connsiteX42" fmla="*/ 815635 w 1769954"/>
                <a:gd name="connsiteY42" fmla="*/ 260924 h 345708"/>
                <a:gd name="connsiteX43" fmla="*/ 1097591 w 1769954"/>
                <a:gd name="connsiteY43" fmla="*/ 92671 h 345708"/>
                <a:gd name="connsiteX44" fmla="*/ 1006234 w 1769954"/>
                <a:gd name="connsiteY44" fmla="*/ 92671 h 345708"/>
                <a:gd name="connsiteX45" fmla="*/ 1006234 w 1769954"/>
                <a:gd name="connsiteY45" fmla="*/ 337821 h 345708"/>
                <a:gd name="connsiteX46" fmla="*/ 1098905 w 1769954"/>
                <a:gd name="connsiteY46" fmla="*/ 337821 h 345708"/>
                <a:gd name="connsiteX47" fmla="*/ 1098905 w 1769954"/>
                <a:gd name="connsiteY47" fmla="*/ 239235 h 345708"/>
                <a:gd name="connsiteX48" fmla="*/ 1162657 w 1769954"/>
                <a:gd name="connsiteY48" fmla="*/ 162995 h 345708"/>
                <a:gd name="connsiteX49" fmla="*/ 1182374 w 1769954"/>
                <a:gd name="connsiteY49" fmla="*/ 163653 h 345708"/>
                <a:gd name="connsiteX50" fmla="*/ 1182374 w 1769954"/>
                <a:gd name="connsiteY50" fmla="*/ 85441 h 345708"/>
                <a:gd name="connsiteX51" fmla="*/ 1100219 w 1769954"/>
                <a:gd name="connsiteY51" fmla="*/ 138678 h 345708"/>
                <a:gd name="connsiteX52" fmla="*/ 1099562 w 1769954"/>
                <a:gd name="connsiteY52" fmla="*/ 138678 h 345708"/>
                <a:gd name="connsiteX53" fmla="*/ 1097591 w 1769954"/>
                <a:gd name="connsiteY53" fmla="*/ 92671 h 345708"/>
                <a:gd name="connsiteX54" fmla="*/ 1338140 w 1769954"/>
                <a:gd name="connsiteY54" fmla="*/ 85441 h 345708"/>
                <a:gd name="connsiteX55" fmla="*/ 1195519 w 1769954"/>
                <a:gd name="connsiteY55" fmla="*/ 215575 h 345708"/>
                <a:gd name="connsiteX56" fmla="*/ 1338140 w 1769954"/>
                <a:gd name="connsiteY56" fmla="*/ 345708 h 345708"/>
                <a:gd name="connsiteX57" fmla="*/ 1480761 w 1769954"/>
                <a:gd name="connsiteY57" fmla="*/ 215575 h 345708"/>
                <a:gd name="connsiteX58" fmla="*/ 1338140 w 1769954"/>
                <a:gd name="connsiteY58" fmla="*/ 85441 h 345708"/>
                <a:gd name="connsiteX59" fmla="*/ 1290819 w 1769954"/>
                <a:gd name="connsiteY59" fmla="*/ 215575 h 345708"/>
                <a:gd name="connsiteX60" fmla="*/ 1338140 w 1769954"/>
                <a:gd name="connsiteY60" fmla="*/ 139335 h 345708"/>
                <a:gd name="connsiteX61" fmla="*/ 1385461 w 1769954"/>
                <a:gd name="connsiteY61" fmla="*/ 215575 h 345708"/>
                <a:gd name="connsiteX62" fmla="*/ 1338140 w 1769954"/>
                <a:gd name="connsiteY62" fmla="*/ 291814 h 345708"/>
                <a:gd name="connsiteX63" fmla="*/ 1290819 w 1769954"/>
                <a:gd name="connsiteY63" fmla="*/ 215575 h 345708"/>
                <a:gd name="connsiteX64" fmla="*/ 1678590 w 1769954"/>
                <a:gd name="connsiteY64" fmla="*/ 85441 h 345708"/>
                <a:gd name="connsiteX65" fmla="*/ 1601693 w 1769954"/>
                <a:gd name="connsiteY65" fmla="*/ 119618 h 345708"/>
                <a:gd name="connsiteX66" fmla="*/ 1600379 w 1769954"/>
                <a:gd name="connsiteY66" fmla="*/ 92671 h 345708"/>
                <a:gd name="connsiteX67" fmla="*/ 1509023 w 1769954"/>
                <a:gd name="connsiteY67" fmla="*/ 92671 h 345708"/>
                <a:gd name="connsiteX68" fmla="*/ 1509023 w 1769954"/>
                <a:gd name="connsiteY68" fmla="*/ 337821 h 345708"/>
                <a:gd name="connsiteX69" fmla="*/ 1601693 w 1769954"/>
                <a:gd name="connsiteY69" fmla="*/ 337821 h 345708"/>
                <a:gd name="connsiteX70" fmla="*/ 1601693 w 1769954"/>
                <a:gd name="connsiteY70" fmla="*/ 197829 h 345708"/>
                <a:gd name="connsiteX71" fmla="*/ 1641785 w 1769954"/>
                <a:gd name="connsiteY71" fmla="*/ 144593 h 345708"/>
                <a:gd name="connsiteX72" fmla="*/ 1677276 w 1769954"/>
                <a:gd name="connsiteY72" fmla="*/ 194543 h 345708"/>
                <a:gd name="connsiteX73" fmla="*/ 1677276 w 1769954"/>
                <a:gd name="connsiteY73" fmla="*/ 338478 h 345708"/>
                <a:gd name="connsiteX74" fmla="*/ 1769947 w 1769954"/>
                <a:gd name="connsiteY74" fmla="*/ 338478 h 345708"/>
                <a:gd name="connsiteX75" fmla="*/ 1769947 w 1769954"/>
                <a:gd name="connsiteY75" fmla="*/ 174169 h 345708"/>
                <a:gd name="connsiteX76" fmla="*/ 1678590 w 1769954"/>
                <a:gd name="connsiteY76" fmla="*/ 85441 h 34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69954" h="345708">
                  <a:moveTo>
                    <a:pt x="196515" y="92671"/>
                  </a:moveTo>
                  <a:lnTo>
                    <a:pt x="99243" y="217546"/>
                  </a:lnTo>
                  <a:lnTo>
                    <a:pt x="194543" y="338478"/>
                  </a:lnTo>
                  <a:lnTo>
                    <a:pt x="84784" y="338478"/>
                  </a:lnTo>
                  <a:lnTo>
                    <a:pt x="0" y="217546"/>
                  </a:lnTo>
                  <a:lnTo>
                    <a:pt x="95300" y="93328"/>
                  </a:lnTo>
                  <a:lnTo>
                    <a:pt x="196515" y="92671"/>
                  </a:lnTo>
                  <a:close/>
                  <a:moveTo>
                    <a:pt x="338478" y="85441"/>
                  </a:moveTo>
                  <a:cubicBezTo>
                    <a:pt x="261581" y="85441"/>
                    <a:pt x="195857" y="124876"/>
                    <a:pt x="195857" y="215575"/>
                  </a:cubicBezTo>
                  <a:cubicBezTo>
                    <a:pt x="195857" y="306274"/>
                    <a:pt x="261581" y="345708"/>
                    <a:pt x="338478" y="345708"/>
                  </a:cubicBezTo>
                  <a:cubicBezTo>
                    <a:pt x="415376" y="345708"/>
                    <a:pt x="481100" y="306274"/>
                    <a:pt x="481100" y="215575"/>
                  </a:cubicBezTo>
                  <a:cubicBezTo>
                    <a:pt x="481757" y="125533"/>
                    <a:pt x="415376" y="85441"/>
                    <a:pt x="338478" y="85441"/>
                  </a:cubicBezTo>
                  <a:close/>
                  <a:moveTo>
                    <a:pt x="291157" y="215575"/>
                  </a:moveTo>
                  <a:cubicBezTo>
                    <a:pt x="291157" y="180741"/>
                    <a:pt x="299701" y="139335"/>
                    <a:pt x="338478" y="139335"/>
                  </a:cubicBezTo>
                  <a:cubicBezTo>
                    <a:pt x="377256" y="139335"/>
                    <a:pt x="385800" y="180741"/>
                    <a:pt x="385800" y="215575"/>
                  </a:cubicBezTo>
                  <a:cubicBezTo>
                    <a:pt x="385800" y="250408"/>
                    <a:pt x="377256" y="291814"/>
                    <a:pt x="338478" y="291814"/>
                  </a:cubicBezTo>
                  <a:cubicBezTo>
                    <a:pt x="299701" y="291814"/>
                    <a:pt x="291157" y="250408"/>
                    <a:pt x="291157" y="215575"/>
                  </a:cubicBezTo>
                  <a:close/>
                  <a:moveTo>
                    <a:pt x="683529" y="85441"/>
                  </a:moveTo>
                  <a:cubicBezTo>
                    <a:pt x="651982" y="85441"/>
                    <a:pt x="627664" y="95300"/>
                    <a:pt x="606632" y="119618"/>
                  </a:cubicBezTo>
                  <a:lnTo>
                    <a:pt x="605318" y="92671"/>
                  </a:lnTo>
                  <a:lnTo>
                    <a:pt x="513962" y="92671"/>
                  </a:lnTo>
                  <a:lnTo>
                    <a:pt x="513962" y="337821"/>
                  </a:lnTo>
                  <a:lnTo>
                    <a:pt x="606632" y="337821"/>
                  </a:lnTo>
                  <a:lnTo>
                    <a:pt x="606632" y="197172"/>
                  </a:lnTo>
                  <a:cubicBezTo>
                    <a:pt x="606632" y="194543"/>
                    <a:pt x="600717" y="143935"/>
                    <a:pt x="646724" y="143935"/>
                  </a:cubicBezTo>
                  <a:cubicBezTo>
                    <a:pt x="675643" y="143935"/>
                    <a:pt x="681558" y="169568"/>
                    <a:pt x="682215" y="193886"/>
                  </a:cubicBezTo>
                  <a:lnTo>
                    <a:pt x="682215" y="337821"/>
                  </a:lnTo>
                  <a:lnTo>
                    <a:pt x="774886" y="337821"/>
                  </a:lnTo>
                  <a:lnTo>
                    <a:pt x="774886" y="173511"/>
                  </a:lnTo>
                  <a:cubicBezTo>
                    <a:pt x="774886" y="119618"/>
                    <a:pt x="736109" y="85441"/>
                    <a:pt x="683529" y="85441"/>
                  </a:cubicBezTo>
                  <a:close/>
                  <a:moveTo>
                    <a:pt x="815635" y="260924"/>
                  </a:moveTo>
                  <a:cubicBezTo>
                    <a:pt x="811034" y="336507"/>
                    <a:pt x="849154" y="345051"/>
                    <a:pt x="912249" y="345051"/>
                  </a:cubicBezTo>
                  <a:cubicBezTo>
                    <a:pt x="926051" y="345051"/>
                    <a:pt x="941167" y="344394"/>
                    <a:pt x="962199" y="340450"/>
                  </a:cubicBezTo>
                  <a:lnTo>
                    <a:pt x="962199" y="285242"/>
                  </a:lnTo>
                  <a:cubicBezTo>
                    <a:pt x="951683" y="286556"/>
                    <a:pt x="938538" y="286556"/>
                    <a:pt x="926708" y="286556"/>
                  </a:cubicBezTo>
                  <a:cubicBezTo>
                    <a:pt x="905019" y="286556"/>
                    <a:pt x="908963" y="255009"/>
                    <a:pt x="908963" y="248437"/>
                  </a:cubicBezTo>
                  <a:lnTo>
                    <a:pt x="908963" y="151165"/>
                  </a:lnTo>
                  <a:lnTo>
                    <a:pt x="962856" y="151165"/>
                  </a:lnTo>
                  <a:lnTo>
                    <a:pt x="962856" y="93328"/>
                  </a:lnTo>
                  <a:lnTo>
                    <a:pt x="908963" y="93328"/>
                  </a:lnTo>
                  <a:lnTo>
                    <a:pt x="908963" y="0"/>
                  </a:lnTo>
                  <a:lnTo>
                    <a:pt x="816292" y="120932"/>
                  </a:lnTo>
                  <a:lnTo>
                    <a:pt x="815635" y="260924"/>
                  </a:lnTo>
                  <a:close/>
                  <a:moveTo>
                    <a:pt x="1097591" y="92671"/>
                  </a:moveTo>
                  <a:lnTo>
                    <a:pt x="1006234" y="92671"/>
                  </a:lnTo>
                  <a:lnTo>
                    <a:pt x="1006234" y="337821"/>
                  </a:lnTo>
                  <a:lnTo>
                    <a:pt x="1098905" y="337821"/>
                  </a:lnTo>
                  <a:lnTo>
                    <a:pt x="1098905" y="239235"/>
                  </a:lnTo>
                  <a:cubicBezTo>
                    <a:pt x="1097591" y="192571"/>
                    <a:pt x="1114022" y="163653"/>
                    <a:pt x="1162657" y="162995"/>
                  </a:cubicBezTo>
                  <a:cubicBezTo>
                    <a:pt x="1169230" y="162995"/>
                    <a:pt x="1175145" y="162995"/>
                    <a:pt x="1182374" y="163653"/>
                  </a:cubicBezTo>
                  <a:lnTo>
                    <a:pt x="1182374" y="85441"/>
                  </a:lnTo>
                  <a:cubicBezTo>
                    <a:pt x="1141626" y="84784"/>
                    <a:pt x="1110735" y="97929"/>
                    <a:pt x="1100219" y="138678"/>
                  </a:cubicBezTo>
                  <a:lnTo>
                    <a:pt x="1099562" y="138678"/>
                  </a:lnTo>
                  <a:lnTo>
                    <a:pt x="1097591" y="92671"/>
                  </a:lnTo>
                  <a:close/>
                  <a:moveTo>
                    <a:pt x="1338140" y="85441"/>
                  </a:moveTo>
                  <a:cubicBezTo>
                    <a:pt x="1261243" y="85441"/>
                    <a:pt x="1195519" y="124876"/>
                    <a:pt x="1195519" y="215575"/>
                  </a:cubicBezTo>
                  <a:cubicBezTo>
                    <a:pt x="1195519" y="306274"/>
                    <a:pt x="1261243" y="345708"/>
                    <a:pt x="1338140" y="345708"/>
                  </a:cubicBezTo>
                  <a:cubicBezTo>
                    <a:pt x="1415037" y="345708"/>
                    <a:pt x="1480761" y="306274"/>
                    <a:pt x="1480761" y="215575"/>
                  </a:cubicBezTo>
                  <a:cubicBezTo>
                    <a:pt x="1480761" y="124876"/>
                    <a:pt x="1414380" y="85441"/>
                    <a:pt x="1338140" y="85441"/>
                  </a:cubicBezTo>
                  <a:close/>
                  <a:moveTo>
                    <a:pt x="1290819" y="215575"/>
                  </a:moveTo>
                  <a:cubicBezTo>
                    <a:pt x="1290819" y="180741"/>
                    <a:pt x="1299363" y="139335"/>
                    <a:pt x="1338140" y="139335"/>
                  </a:cubicBezTo>
                  <a:cubicBezTo>
                    <a:pt x="1376917" y="139335"/>
                    <a:pt x="1385461" y="180741"/>
                    <a:pt x="1385461" y="215575"/>
                  </a:cubicBezTo>
                  <a:cubicBezTo>
                    <a:pt x="1385461" y="250408"/>
                    <a:pt x="1376917" y="291814"/>
                    <a:pt x="1338140" y="291814"/>
                  </a:cubicBezTo>
                  <a:cubicBezTo>
                    <a:pt x="1298706" y="291814"/>
                    <a:pt x="1290819" y="250408"/>
                    <a:pt x="1290819" y="215575"/>
                  </a:cubicBezTo>
                  <a:close/>
                  <a:moveTo>
                    <a:pt x="1678590" y="85441"/>
                  </a:moveTo>
                  <a:cubicBezTo>
                    <a:pt x="1647043" y="85441"/>
                    <a:pt x="1622725" y="95300"/>
                    <a:pt x="1601693" y="119618"/>
                  </a:cubicBezTo>
                  <a:lnTo>
                    <a:pt x="1600379" y="92671"/>
                  </a:lnTo>
                  <a:lnTo>
                    <a:pt x="1509023" y="92671"/>
                  </a:lnTo>
                  <a:lnTo>
                    <a:pt x="1509023" y="337821"/>
                  </a:lnTo>
                  <a:lnTo>
                    <a:pt x="1601693" y="337821"/>
                  </a:lnTo>
                  <a:lnTo>
                    <a:pt x="1601693" y="197829"/>
                  </a:lnTo>
                  <a:cubicBezTo>
                    <a:pt x="1601693" y="195200"/>
                    <a:pt x="1595778" y="144593"/>
                    <a:pt x="1641785" y="144593"/>
                  </a:cubicBezTo>
                  <a:cubicBezTo>
                    <a:pt x="1670704" y="144593"/>
                    <a:pt x="1676619" y="170225"/>
                    <a:pt x="1677276" y="194543"/>
                  </a:cubicBezTo>
                  <a:lnTo>
                    <a:pt x="1677276" y="338478"/>
                  </a:lnTo>
                  <a:lnTo>
                    <a:pt x="1769947" y="338478"/>
                  </a:lnTo>
                  <a:lnTo>
                    <a:pt x="1769947" y="174169"/>
                  </a:lnTo>
                  <a:cubicBezTo>
                    <a:pt x="1770604" y="119618"/>
                    <a:pt x="1731170" y="85441"/>
                    <a:pt x="1678590" y="85441"/>
                  </a:cubicBezTo>
                  <a:close/>
                </a:path>
              </a:pathLst>
            </a:custGeom>
            <a:grpFill/>
            <a:ln w="6540" cap="flat">
              <a:noFill/>
              <a:prstDash val="solid"/>
              <a:miter/>
            </a:ln>
          </p:spPr>
          <p:txBody>
            <a:bodyPr rtlCol="0" anchor="ctr"/>
            <a:lstStyle/>
            <a:p>
              <a:endParaRPr lang="en-GB" dirty="0"/>
            </a:p>
          </p:txBody>
        </p:sp>
      </p:grpSp>
      <p:sp>
        <p:nvSpPr>
          <p:cNvPr id="21" name="Textplatzhalter 20">
            <a:extLst>
              <a:ext uri="{FF2B5EF4-FFF2-40B4-BE49-F238E27FC236}">
                <a16:creationId xmlns:a16="http://schemas.microsoft.com/office/drawing/2014/main" id="{BFB478B9-BB7B-0686-B0B3-C105A243B22D}"/>
              </a:ext>
            </a:extLst>
          </p:cNvPr>
          <p:cNvSpPr>
            <a:spLocks noGrp="1"/>
          </p:cNvSpPr>
          <p:nvPr>
            <p:ph type="body" sz="quarter" idx="13" hasCustomPrompt="1"/>
          </p:nvPr>
        </p:nvSpPr>
        <p:spPr>
          <a:xfrm>
            <a:off x="695326" y="2967718"/>
            <a:ext cx="4965246" cy="1539875"/>
          </a:xfrm>
        </p:spPr>
        <p:txBody>
          <a:bodyPr lIns="0" tIns="0" rIns="0" bIns="0" anchor="b">
            <a:normAutofit/>
          </a:bodyPr>
          <a:lstStyle>
            <a:lvl1pPr marL="0" indent="0">
              <a:buNone/>
              <a:defRPr lang="en-US" sz="4800" b="1" kern="1200" dirty="0">
                <a:solidFill>
                  <a:schemeClr val="bg1"/>
                </a:solidFill>
                <a:latin typeface="+mj-lt"/>
                <a:ea typeface="+mn-ea"/>
                <a:cs typeface="+mn-cs"/>
              </a:defRPr>
            </a:lvl1pPr>
            <a:lvl2pPr marL="216000" indent="0">
              <a:buNone/>
              <a:defRPr/>
            </a:lvl2pPr>
            <a:lvl3pPr marL="432000" indent="0">
              <a:buNone/>
              <a:defRPr/>
            </a:lvl3pPr>
            <a:lvl4pPr marL="648000" indent="0">
              <a:buNone/>
              <a:defRPr/>
            </a:lvl4pPr>
            <a:lvl5pPr marL="864000" indent="0">
              <a:buNone/>
              <a:defRPr/>
            </a:lvl5pPr>
          </a:lstStyle>
          <a:p>
            <a:pPr marL="0" lvl="0" indent="0" algn="l" defTabSz="914400" rtl="0" eaLnBrk="1" latinLnBrk="0" hangingPunct="1">
              <a:lnSpc>
                <a:spcPct val="100000"/>
              </a:lnSpc>
              <a:spcBef>
                <a:spcPts val="300"/>
              </a:spcBef>
              <a:buClr>
                <a:schemeClr val="accent1"/>
              </a:buClr>
              <a:buFont typeface="Calibri Light" panose="020F0302020204030204" pitchFamily="34" charset="0"/>
              <a:buNone/>
            </a:pPr>
            <a:r>
              <a:rPr lang="de-DE" dirty="0" err="1"/>
              <a:t>Thank</a:t>
            </a:r>
            <a:r>
              <a:rPr lang="de-DE" dirty="0"/>
              <a:t> </a:t>
            </a:r>
            <a:r>
              <a:rPr lang="de-DE" dirty="0" err="1"/>
              <a:t>you</a:t>
            </a:r>
            <a:r>
              <a:rPr lang="de-DE" dirty="0"/>
              <a:t> </a:t>
            </a:r>
            <a:r>
              <a:rPr lang="de-DE" dirty="0" err="1"/>
              <a:t>for</a:t>
            </a:r>
            <a:r>
              <a:rPr lang="de-DE" dirty="0"/>
              <a:t> </a:t>
            </a:r>
            <a:r>
              <a:rPr lang="de-DE" dirty="0" err="1"/>
              <a:t>your</a:t>
            </a:r>
            <a:r>
              <a:rPr lang="de-DE" dirty="0"/>
              <a:t> </a:t>
            </a:r>
            <a:r>
              <a:rPr lang="de-DE" dirty="0" err="1"/>
              <a:t>attention</a:t>
            </a:r>
            <a:r>
              <a:rPr lang="de-DE" dirty="0"/>
              <a:t>.</a:t>
            </a:r>
            <a:endParaRPr lang="en-US" dirty="0"/>
          </a:p>
        </p:txBody>
      </p:sp>
      <p:cxnSp>
        <p:nvCxnSpPr>
          <p:cNvPr id="22" name="Gerader Verbinder 21">
            <a:extLst>
              <a:ext uri="{FF2B5EF4-FFF2-40B4-BE49-F238E27FC236}">
                <a16:creationId xmlns:a16="http://schemas.microsoft.com/office/drawing/2014/main" id="{FADA38B1-7ED1-B1A6-EEDF-18C3337B110F}"/>
              </a:ext>
            </a:extLst>
          </p:cNvPr>
          <p:cNvCxnSpPr>
            <a:cxnSpLocks/>
          </p:cNvCxnSpPr>
          <p:nvPr userDrawn="1"/>
        </p:nvCxnSpPr>
        <p:spPr>
          <a:xfrm>
            <a:off x="695324" y="4778942"/>
            <a:ext cx="68961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extfeld 22">
            <a:extLst>
              <a:ext uri="{FF2B5EF4-FFF2-40B4-BE49-F238E27FC236}">
                <a16:creationId xmlns:a16="http://schemas.microsoft.com/office/drawing/2014/main" id="{FE4EE280-2BC9-F270-CE5C-BD16D4AC55FB}"/>
              </a:ext>
            </a:extLst>
          </p:cNvPr>
          <p:cNvSpPr txBox="1">
            <a:spLocks/>
          </p:cNvSpPr>
          <p:nvPr userDrawn="1"/>
        </p:nvSpPr>
        <p:spPr>
          <a:xfrm>
            <a:off x="695324" y="4970236"/>
            <a:ext cx="4965247" cy="769441"/>
          </a:xfrm>
          <a:prstGeom prst="rect">
            <a:avLst/>
          </a:prstGeom>
          <a:noFill/>
        </p:spPr>
        <p:txBody>
          <a:bodyPr wrap="square" lIns="0" tIns="0" rIns="0" bIns="0">
            <a:spAutoFit/>
          </a:bodyPr>
          <a:lstStyle/>
          <a:p>
            <a:pPr eaLnBrk="1" hangingPunct="1"/>
            <a:r>
              <a:rPr lang="en-US" sz="1000" dirty="0">
                <a:solidFill>
                  <a:schemeClr val="bg1"/>
                </a:solidFill>
                <a:latin typeface="+mn-lt"/>
              </a:rPr>
              <a:t>Copyright © 2023 Kontron AG. All rights reserved. All data is for information purposes only and not guaranteed for legal purposes. Information has been carefully checked and is believed to be accurate; however, no responsibility is assumed for inaccuracies. Kontron and the Kontron logo and all other trademarks or registered trademarks are the property of their respective owners and are recognized. Specifications are subject to change without notice. </a:t>
            </a:r>
            <a:endParaRPr lang="de-DE" sz="1000" dirty="0">
              <a:solidFill>
                <a:schemeClr val="bg1"/>
              </a:solidFill>
              <a:latin typeface="+mn-lt"/>
            </a:endParaRPr>
          </a:p>
        </p:txBody>
      </p:sp>
    </p:spTree>
    <p:extLst>
      <p:ext uri="{BB962C8B-B14F-4D97-AF65-F5344CB8AC3E}">
        <p14:creationId xmlns:p14="http://schemas.microsoft.com/office/powerpoint/2010/main" val="9548690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clusio">
    <p:bg>
      <p:bgRef idx="1001">
        <a:schemeClr val="bg1"/>
      </p:bgRef>
    </p:bg>
    <p:spTree>
      <p:nvGrpSpPr>
        <p:cNvPr id="1" name=""/>
        <p:cNvGrpSpPr/>
        <p:nvPr/>
      </p:nvGrpSpPr>
      <p:grpSpPr>
        <a:xfrm>
          <a:off x="0" y="0"/>
          <a:ext cx="0" cy="0"/>
          <a:chOff x="0" y="0"/>
          <a:chExt cx="0" cy="0"/>
        </a:xfrm>
      </p:grpSpPr>
      <p:sp>
        <p:nvSpPr>
          <p:cNvPr id="12" name="SlideNumber">
            <a:extLst>
              <a:ext uri="{FF2B5EF4-FFF2-40B4-BE49-F238E27FC236}">
                <a16:creationId xmlns:a16="http://schemas.microsoft.com/office/drawing/2014/main" id="{A2B26773-BCA2-4917-8F3A-705AA8C69F66}"/>
              </a:ext>
            </a:extLst>
          </p:cNvPr>
          <p:cNvSpPr>
            <a:spLocks noGrp="1"/>
          </p:cNvSpPr>
          <p:nvPr>
            <p:ph type="sldNum" sz="quarter" idx="12"/>
          </p:nvPr>
        </p:nvSpPr>
        <p:spPr>
          <a:xfrm>
            <a:off x="10820400" y="6489700"/>
            <a:ext cx="889000" cy="254000"/>
          </a:xfrm>
          <a:prstGeom prst="rect">
            <a:avLst/>
          </a:prstGeom>
        </p:spPr>
        <p:txBody>
          <a:bodyPr wrap="square" lIns="0" tIns="0" rIns="0" bIns="0" anchor="ctr">
            <a:noAutofit/>
          </a:bodyPr>
          <a:lstStyle>
            <a:lvl1pPr algn="r">
              <a:lnSpc>
                <a:spcPct val="100000"/>
              </a:lnSpc>
              <a:spcBef>
                <a:spcPts val="0"/>
              </a:spcBef>
              <a:spcAft>
                <a:spcPts val="0"/>
              </a:spcAft>
              <a:defRPr sz="900">
                <a:solidFill>
                  <a:schemeClr val="tx1"/>
                </a:solidFill>
                <a:latin typeface="+mj-lt"/>
              </a:defRPr>
            </a:lvl1pPr>
          </a:lstStyle>
          <a:p>
            <a:fld id="{3C6863D3-0438-440B-9B18-903EFF5BE46F}" type="slidenum">
              <a:rPr lang="en-US" smtClean="0"/>
              <a:pPr/>
              <a:t>‹#›</a:t>
            </a:fld>
            <a:endParaRPr lang="en-US" dirty="0"/>
          </a:p>
        </p:txBody>
      </p:sp>
      <p:sp>
        <p:nvSpPr>
          <p:cNvPr id="18" name="Footer">
            <a:extLst>
              <a:ext uri="{FF2B5EF4-FFF2-40B4-BE49-F238E27FC236}">
                <a16:creationId xmlns:a16="http://schemas.microsoft.com/office/drawing/2014/main" id="{A5E16179-4314-411E-BF92-5035F9CB0F7A}"/>
              </a:ext>
            </a:extLst>
          </p:cNvPr>
          <p:cNvSpPr>
            <a:spLocks noGrp="1"/>
          </p:cNvSpPr>
          <p:nvPr>
            <p:ph type="body" sz="quarter" idx="15" hasCustomPrompt="1"/>
            <p:custDataLst>
              <p:tags r:id="rId1"/>
            </p:custDataLst>
          </p:nvPr>
        </p:nvSpPr>
        <p:spPr>
          <a:xfrm>
            <a:off x="482600" y="6489700"/>
            <a:ext cx="10299700" cy="254000"/>
          </a:xfrm>
          <a:prstGeom prst="rect">
            <a:avLst/>
          </a:prstGeom>
          <a:noFill/>
          <a:ln w="9525">
            <a:noFill/>
            <a:miter lim="800000"/>
            <a:headEnd/>
            <a:tailEnd/>
          </a:ln>
        </p:spPr>
        <p:txBody>
          <a:bodyPr vert="horz" wrap="square" lIns="0" tIns="0" rIns="0" bIns="0" rtlCol="0" anchor="ctr" anchorCtr="0">
            <a:noAutofit/>
          </a:bodyPr>
          <a:lstStyle>
            <a:lvl1pPr marL="342900" indent="-342900">
              <a:lnSpc>
                <a:spcPct val="100000"/>
              </a:lnSpc>
              <a:spcBef>
                <a:spcPct val="0"/>
              </a:spcBef>
              <a:spcAft>
                <a:spcPts val="0"/>
              </a:spcAft>
              <a:buNone/>
              <a:defRPr lang="de-DE" sz="900" i="0" cap="none" baseline="0" smtClean="0">
                <a:solidFill>
                  <a:schemeClr val="tx1"/>
                </a:solidFill>
                <a:latin typeface="+mn-lt"/>
                <a:ea typeface="ＭＳ Ｐゴシック" pitchFamily="34" charset="-128"/>
                <a:cs typeface="+mn-cs"/>
              </a:defRPr>
            </a:lvl1pPr>
            <a:lvl2pPr>
              <a:defRPr lang="de-DE" smtClean="0">
                <a:latin typeface="Arial" charset="0"/>
                <a:ea typeface="ＭＳ Ｐゴシック" pitchFamily="34" charset="-128"/>
                <a:cs typeface="+mn-cs"/>
              </a:defRPr>
            </a:lvl2pPr>
            <a:lvl3pPr>
              <a:defRPr lang="de-DE" smtClean="0">
                <a:latin typeface="Arial" charset="0"/>
                <a:ea typeface="ＭＳ Ｐゴシック" pitchFamily="34" charset="-128"/>
                <a:cs typeface="+mn-cs"/>
              </a:defRPr>
            </a:lvl3pPr>
            <a:lvl4pPr>
              <a:defRPr lang="de-DE" smtClean="0">
                <a:latin typeface="Arial" charset="0"/>
                <a:ea typeface="ＭＳ Ｐゴシック" pitchFamily="34" charset="-128"/>
                <a:cs typeface="+mn-cs"/>
              </a:defRPr>
            </a:lvl4pPr>
            <a:lvl5pPr>
              <a:defRPr lang="de-AT">
                <a:latin typeface="Arial" charset="0"/>
                <a:ea typeface="ＭＳ Ｐゴシック" pitchFamily="34" charset="-128"/>
                <a:cs typeface="+mn-cs"/>
              </a:defRPr>
            </a:lvl5pPr>
          </a:lstStyle>
          <a:p>
            <a:pPr marL="0" lvl="0" indent="0" defTabSz="762000">
              <a:spcBef>
                <a:spcPct val="0"/>
              </a:spcBef>
            </a:pPr>
            <a:r>
              <a:rPr lang="en-US" noProof="0"/>
              <a:t>Please insert Footer ...</a:t>
            </a:r>
            <a:endParaRPr lang="en-US" noProof="0" dirty="0"/>
          </a:p>
        </p:txBody>
      </p:sp>
      <p:sp>
        <p:nvSpPr>
          <p:cNvPr id="7" name="Conclusio"/>
          <p:cNvSpPr>
            <a:spLocks noGrp="1"/>
          </p:cNvSpPr>
          <p:nvPr>
            <p:ph type="body" sz="quarter" idx="17" hasCustomPrompt="1"/>
          </p:nvPr>
        </p:nvSpPr>
        <p:spPr>
          <a:xfrm>
            <a:off x="0" y="6019800"/>
            <a:ext cx="11709400" cy="355600"/>
          </a:xfrm>
          <a:prstGeom prst="rect">
            <a:avLst/>
          </a:prstGeom>
          <a:solidFill>
            <a:schemeClr val="accent3">
              <a:lumMod val="40000"/>
              <a:lumOff val="60000"/>
            </a:schemeClr>
          </a:solidFill>
        </p:spPr>
        <p:txBody>
          <a:bodyPr wrap="square" lIns="482600" tIns="0" rIns="0" bIns="0" anchor="ctr">
            <a:noAutofit/>
          </a:bodyPr>
          <a:lstStyle>
            <a:lvl1pPr marL="0" indent="0" algn="l">
              <a:lnSpc>
                <a:spcPct val="100000"/>
              </a:lnSpc>
              <a:spcBef>
                <a:spcPts val="0"/>
              </a:spcBef>
              <a:spcAft>
                <a:spcPts val="0"/>
              </a:spcAft>
              <a:buNone/>
              <a:defRPr sz="1800" cap="none" baseline="0">
                <a:solidFill>
                  <a:schemeClr val="tx2"/>
                </a:solidFill>
              </a:defRPr>
            </a:lvl1pPr>
          </a:lstStyle>
          <a:p>
            <a:pPr lvl="0"/>
            <a:r>
              <a:rPr lang="en-US" noProof="0"/>
              <a:t>Please insert Conclusio ...</a:t>
            </a:r>
            <a:endParaRPr lang="en-US" noProof="0" dirty="0"/>
          </a:p>
        </p:txBody>
      </p:sp>
      <p:sp>
        <p:nvSpPr>
          <p:cNvPr id="5" name="Content">
            <a:extLst>
              <a:ext uri="{FF2B5EF4-FFF2-40B4-BE49-F238E27FC236}">
                <a16:creationId xmlns:a16="http://schemas.microsoft.com/office/drawing/2014/main" id="{1F66CDA7-35DD-4961-BB5E-91DCF8258729}"/>
              </a:ext>
            </a:extLst>
          </p:cNvPr>
          <p:cNvSpPr>
            <a:spLocks noGrp="1"/>
          </p:cNvSpPr>
          <p:nvPr>
            <p:ph sz="quarter" idx="18" hasCustomPrompt="1"/>
          </p:nvPr>
        </p:nvSpPr>
        <p:spPr>
          <a:xfrm>
            <a:off x="482600" y="1841500"/>
            <a:ext cx="11226800" cy="4076700"/>
          </a:xfrm>
          <a:prstGeom prst="rect">
            <a:avLst/>
          </a:prstGeom>
        </p:spPr>
        <p:txBody>
          <a:bodyPr wrap="square" lIns="50800" tIns="50800" rIns="50800" bIns="50800" anchor="t">
            <a:normAutofit/>
          </a:bodyPr>
          <a:lstStyle>
            <a:lvl1pPr algn="l">
              <a:defRPr>
                <a:solidFill>
                  <a:schemeClr val="tx1"/>
                </a:solidFill>
                <a:latin typeface="+mn-lt"/>
              </a:defRPr>
            </a:lvl1pPr>
            <a:lvl2pPr algn="l">
              <a:defRPr>
                <a:solidFill>
                  <a:schemeClr val="tx1"/>
                </a:solidFill>
                <a:latin typeface="+mn-lt"/>
              </a:defRPr>
            </a:lvl2pPr>
            <a:lvl3pPr algn="l">
              <a:defRPr>
                <a:solidFill>
                  <a:schemeClr val="tx1"/>
                </a:solidFill>
                <a:latin typeface="+mn-lt"/>
              </a:defRPr>
            </a:lvl3pPr>
            <a:lvl4pPr algn="l">
              <a:defRPr>
                <a:solidFill>
                  <a:schemeClr val="tx1"/>
                </a:solidFill>
                <a:latin typeface="+mn-lt"/>
              </a:defRPr>
            </a:lvl4pPr>
            <a:lvl5pPr algn="l">
              <a:defRPr>
                <a:solidFill>
                  <a:schemeClr val="tx1"/>
                </a:solidFill>
                <a:latin typeface="+mn-lt"/>
              </a:defRPr>
            </a:lvl5pPr>
          </a:lstStyle>
          <a:p>
            <a:pPr lvl="0"/>
            <a:r>
              <a:rPr lang="en-US" dirty="0"/>
              <a:t>Layer One</a:t>
            </a:r>
          </a:p>
          <a:p>
            <a:pPr lvl="1"/>
            <a:r>
              <a:rPr lang="en-US" dirty="0"/>
              <a:t>Layer Two</a:t>
            </a:r>
          </a:p>
          <a:p>
            <a:pPr lvl="2"/>
            <a:r>
              <a:rPr lang="en-US" dirty="0"/>
              <a:t>Layer Three</a:t>
            </a:r>
          </a:p>
          <a:p>
            <a:pPr lvl="3"/>
            <a:r>
              <a:rPr lang="en-US" dirty="0"/>
              <a:t>Layer Four</a:t>
            </a:r>
          </a:p>
          <a:p>
            <a:pPr lvl="4"/>
            <a:r>
              <a:rPr lang="en-US" dirty="0"/>
              <a:t>Layer Five</a:t>
            </a:r>
          </a:p>
        </p:txBody>
      </p:sp>
      <p:grpSp>
        <p:nvGrpSpPr>
          <p:cNvPr id="17" name="ArrowAndLine">
            <a:extLst>
              <a:ext uri="{FF2B5EF4-FFF2-40B4-BE49-F238E27FC236}">
                <a16:creationId xmlns:a16="http://schemas.microsoft.com/office/drawing/2014/main" id="{9C05A587-6CA3-4A58-BE74-A8786758F33F}"/>
              </a:ext>
            </a:extLst>
          </p:cNvPr>
          <p:cNvGrpSpPr/>
          <p:nvPr userDrawn="1"/>
        </p:nvGrpSpPr>
        <p:grpSpPr>
          <a:xfrm>
            <a:off x="482600" y="1308100"/>
            <a:ext cx="720000" cy="216000"/>
            <a:chOff x="720000" y="1476000"/>
            <a:chExt cx="720000" cy="216000"/>
          </a:xfrm>
        </p:grpSpPr>
        <p:cxnSp>
          <p:nvCxnSpPr>
            <p:cNvPr id="19" name="Line">
              <a:extLst>
                <a:ext uri="{FF2B5EF4-FFF2-40B4-BE49-F238E27FC236}">
                  <a16:creationId xmlns:a16="http://schemas.microsoft.com/office/drawing/2014/main" id="{91703F05-1CE1-43D6-BE87-5D85536A5ECC}"/>
                </a:ext>
              </a:extLst>
            </p:cNvPr>
            <p:cNvCxnSpPr/>
            <p:nvPr userDrawn="1"/>
          </p:nvCxnSpPr>
          <p:spPr>
            <a:xfrm>
              <a:off x="720000" y="1476000"/>
              <a:ext cx="720000" cy="0"/>
            </a:xfrm>
            <a:prstGeom prst="line">
              <a:avLst/>
            </a:prstGeom>
            <a:ln w="6350">
              <a:solidFill>
                <a:srgbClr val="58585A"/>
              </a:solidFill>
            </a:ln>
          </p:spPr>
          <p:style>
            <a:lnRef idx="1">
              <a:schemeClr val="accent1"/>
            </a:lnRef>
            <a:fillRef idx="0">
              <a:schemeClr val="accent1"/>
            </a:fillRef>
            <a:effectRef idx="0">
              <a:schemeClr val="accent1"/>
            </a:effectRef>
            <a:fontRef idx="minor">
              <a:schemeClr val="tx1"/>
            </a:fontRef>
          </p:style>
        </p:cxnSp>
        <p:sp>
          <p:nvSpPr>
            <p:cNvPr id="20" name="Arrow">
              <a:extLst>
                <a:ext uri="{FF2B5EF4-FFF2-40B4-BE49-F238E27FC236}">
                  <a16:creationId xmlns:a16="http://schemas.microsoft.com/office/drawing/2014/main" id="{5A3E84E7-6F66-4A9F-A5F0-A68E93B4BF9A}"/>
                </a:ext>
              </a:extLst>
            </p:cNvPr>
            <p:cNvSpPr>
              <a:spLocks noChangeAspect="1"/>
            </p:cNvSpPr>
            <p:nvPr userDrawn="1"/>
          </p:nvSpPr>
          <p:spPr>
            <a:xfrm flipV="1">
              <a:off x="1008000" y="1584000"/>
              <a:ext cx="144000" cy="108000"/>
            </a:xfrm>
            <a:prstGeom prst="triangle">
              <a:avLst/>
            </a:prstGeom>
            <a:solidFill>
              <a:srgbClr val="005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grpSp>
      <p:sp>
        <p:nvSpPr>
          <p:cNvPr id="13" name="SubTitle">
            <a:extLst>
              <a:ext uri="{FF2B5EF4-FFF2-40B4-BE49-F238E27FC236}">
                <a16:creationId xmlns:a16="http://schemas.microsoft.com/office/drawing/2014/main" id="{69A867A9-5C42-4DCF-8817-AFDBFD32899B}"/>
              </a:ext>
            </a:extLst>
          </p:cNvPr>
          <p:cNvSpPr>
            <a:spLocks noGrp="1"/>
          </p:cNvSpPr>
          <p:nvPr>
            <p:ph type="body" sz="quarter" idx="14" hasCustomPrompt="1"/>
            <p:custDataLst>
              <p:tags r:id="rId2"/>
            </p:custDataLst>
          </p:nvPr>
        </p:nvSpPr>
        <p:spPr>
          <a:xfrm>
            <a:off x="482600" y="952500"/>
            <a:ext cx="9359900" cy="279400"/>
          </a:xfrm>
          <a:prstGeom prst="rect">
            <a:avLst/>
          </a:prstGeom>
        </p:spPr>
        <p:txBody>
          <a:bodyPr vert="horz" wrap="square" lIns="0" tIns="0" rIns="0" bIns="0" rtlCol="0" anchor="ctr" anchorCtr="0">
            <a:noAutofit/>
          </a:bodyPr>
          <a:lstStyle>
            <a:lvl1pPr marL="0" indent="0">
              <a:lnSpc>
                <a:spcPct val="100000"/>
              </a:lnSpc>
              <a:spcBef>
                <a:spcPts val="0"/>
              </a:spcBef>
              <a:spcAft>
                <a:spcPts val="0"/>
              </a:spcAft>
              <a:buNone/>
              <a:defRPr lang="de-AT" sz="2200" cap="none" baseline="0" dirty="0">
                <a:solidFill>
                  <a:schemeClr val="tx1"/>
                </a:solidFill>
                <a:latin typeface="+mj-lt"/>
              </a:defRPr>
            </a:lvl1pPr>
          </a:lstStyle>
          <a:p>
            <a:pPr lvl="0"/>
            <a:r>
              <a:rPr lang="en-US"/>
              <a:t>Please insert SubTitle ...</a:t>
            </a:r>
            <a:endParaRPr lang="en-US" dirty="0"/>
          </a:p>
        </p:txBody>
      </p:sp>
      <p:sp>
        <p:nvSpPr>
          <p:cNvPr id="15" name="Title">
            <a:extLst>
              <a:ext uri="{FF2B5EF4-FFF2-40B4-BE49-F238E27FC236}">
                <a16:creationId xmlns:a16="http://schemas.microsoft.com/office/drawing/2014/main" id="{749B3BD1-E0C1-42B4-8B6C-132CE059F5D1}"/>
              </a:ext>
            </a:extLst>
          </p:cNvPr>
          <p:cNvSpPr>
            <a:spLocks noGrp="1"/>
          </p:cNvSpPr>
          <p:nvPr>
            <p:ph type="title" hasCustomPrompt="1"/>
          </p:nvPr>
        </p:nvSpPr>
        <p:spPr>
          <a:xfrm>
            <a:off x="482600" y="558800"/>
            <a:ext cx="9359900" cy="355600"/>
          </a:xfrm>
          <a:prstGeom prst="rect">
            <a:avLst/>
          </a:prstGeom>
        </p:spPr>
        <p:txBody>
          <a:bodyPr wrap="square" lIns="0" tIns="0" rIns="0" bIns="0" anchor="ctr">
            <a:noAutofit/>
          </a:bodyPr>
          <a:lstStyle>
            <a:lvl1pPr>
              <a:lnSpc>
                <a:spcPct val="100000"/>
              </a:lnSpc>
              <a:spcBef>
                <a:spcPts val="0"/>
              </a:spcBef>
              <a:spcAft>
                <a:spcPts val="0"/>
              </a:spcAft>
              <a:defRPr sz="2800">
                <a:solidFill>
                  <a:schemeClr val="tx2"/>
                </a:solidFill>
              </a:defRPr>
            </a:lvl1pPr>
          </a:lstStyle>
          <a:p>
            <a:r>
              <a:rPr lang="en-US"/>
              <a:t>Please insert Title ...</a:t>
            </a:r>
            <a:endParaRPr lang="en-US" dirty="0"/>
          </a:p>
        </p:txBody>
      </p:sp>
    </p:spTree>
    <p:extLst>
      <p:ext uri="{BB962C8B-B14F-4D97-AF65-F5344CB8AC3E}">
        <p14:creationId xmlns:p14="http://schemas.microsoft.com/office/powerpoint/2010/main" val="1269809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tandard">
    <p:bg>
      <p:bgRef idx="1001">
        <a:schemeClr val="bg1"/>
      </p:bgRef>
    </p:bg>
    <p:spTree>
      <p:nvGrpSpPr>
        <p:cNvPr id="1" name=""/>
        <p:cNvGrpSpPr/>
        <p:nvPr/>
      </p:nvGrpSpPr>
      <p:grpSpPr>
        <a:xfrm>
          <a:off x="0" y="0"/>
          <a:ext cx="0" cy="0"/>
          <a:chOff x="0" y="0"/>
          <a:chExt cx="0" cy="0"/>
        </a:xfrm>
      </p:grpSpPr>
      <p:sp>
        <p:nvSpPr>
          <p:cNvPr id="13" name="SlideNumber">
            <a:extLst>
              <a:ext uri="{FF2B5EF4-FFF2-40B4-BE49-F238E27FC236}">
                <a16:creationId xmlns:a16="http://schemas.microsoft.com/office/drawing/2014/main" id="{E5B2D65E-DE2A-45A1-BA42-2F7A509C9BA4}"/>
              </a:ext>
            </a:extLst>
          </p:cNvPr>
          <p:cNvSpPr>
            <a:spLocks noGrp="1"/>
          </p:cNvSpPr>
          <p:nvPr>
            <p:ph type="sldNum" sz="quarter" idx="12"/>
          </p:nvPr>
        </p:nvSpPr>
        <p:spPr>
          <a:xfrm>
            <a:off x="10820400" y="6489700"/>
            <a:ext cx="889000" cy="254000"/>
          </a:xfrm>
          <a:prstGeom prst="rect">
            <a:avLst/>
          </a:prstGeom>
        </p:spPr>
        <p:txBody>
          <a:bodyPr wrap="square" lIns="0" tIns="0" rIns="0" bIns="0" anchor="ctr">
            <a:noAutofit/>
          </a:bodyPr>
          <a:lstStyle>
            <a:lvl1pPr algn="r">
              <a:lnSpc>
                <a:spcPct val="100000"/>
              </a:lnSpc>
              <a:spcBef>
                <a:spcPts val="0"/>
              </a:spcBef>
              <a:spcAft>
                <a:spcPts val="0"/>
              </a:spcAft>
              <a:defRPr sz="900">
                <a:solidFill>
                  <a:schemeClr val="tx1"/>
                </a:solidFill>
                <a:latin typeface="+mj-lt"/>
              </a:defRPr>
            </a:lvl1pPr>
          </a:lstStyle>
          <a:p>
            <a:fld id="{3C6863D3-0438-440B-9B18-903EFF5BE46F}" type="slidenum">
              <a:rPr lang="en-US" smtClean="0"/>
              <a:pPr/>
              <a:t>‹#›</a:t>
            </a:fld>
            <a:endParaRPr lang="en-US" dirty="0"/>
          </a:p>
        </p:txBody>
      </p:sp>
      <p:sp>
        <p:nvSpPr>
          <p:cNvPr id="18" name="Footer">
            <a:extLst>
              <a:ext uri="{FF2B5EF4-FFF2-40B4-BE49-F238E27FC236}">
                <a16:creationId xmlns:a16="http://schemas.microsoft.com/office/drawing/2014/main" id="{56E32337-E332-4751-901F-DBE1E6A7966B}"/>
              </a:ext>
            </a:extLst>
          </p:cNvPr>
          <p:cNvSpPr>
            <a:spLocks noGrp="1"/>
          </p:cNvSpPr>
          <p:nvPr>
            <p:ph type="body" sz="quarter" idx="15" hasCustomPrompt="1"/>
            <p:custDataLst>
              <p:tags r:id="rId1"/>
            </p:custDataLst>
          </p:nvPr>
        </p:nvSpPr>
        <p:spPr>
          <a:xfrm>
            <a:off x="482600" y="6489700"/>
            <a:ext cx="10299700" cy="254000"/>
          </a:xfrm>
          <a:prstGeom prst="rect">
            <a:avLst/>
          </a:prstGeom>
          <a:noFill/>
          <a:ln w="9525">
            <a:noFill/>
            <a:miter lim="800000"/>
            <a:headEnd/>
            <a:tailEnd/>
          </a:ln>
        </p:spPr>
        <p:txBody>
          <a:bodyPr vert="horz" wrap="square" lIns="0" tIns="0" rIns="0" bIns="0" rtlCol="0" anchor="ctr" anchorCtr="0">
            <a:noAutofit/>
          </a:bodyPr>
          <a:lstStyle>
            <a:lvl1pPr marL="342900" indent="-342900">
              <a:lnSpc>
                <a:spcPct val="100000"/>
              </a:lnSpc>
              <a:spcBef>
                <a:spcPct val="0"/>
              </a:spcBef>
              <a:spcAft>
                <a:spcPts val="0"/>
              </a:spcAft>
              <a:buNone/>
              <a:defRPr lang="de-DE" sz="900" i="0" cap="none" baseline="0" smtClean="0">
                <a:solidFill>
                  <a:schemeClr val="tx1"/>
                </a:solidFill>
                <a:latin typeface="+mn-lt"/>
                <a:ea typeface="ＭＳ Ｐゴシック" pitchFamily="34" charset="-128"/>
                <a:cs typeface="+mn-cs"/>
              </a:defRPr>
            </a:lvl1pPr>
            <a:lvl2pPr>
              <a:defRPr lang="de-DE" smtClean="0">
                <a:latin typeface="Arial" charset="0"/>
                <a:ea typeface="ＭＳ Ｐゴシック" pitchFamily="34" charset="-128"/>
                <a:cs typeface="+mn-cs"/>
              </a:defRPr>
            </a:lvl2pPr>
            <a:lvl3pPr>
              <a:defRPr lang="de-DE" smtClean="0">
                <a:latin typeface="Arial" charset="0"/>
                <a:ea typeface="ＭＳ Ｐゴシック" pitchFamily="34" charset="-128"/>
                <a:cs typeface="+mn-cs"/>
              </a:defRPr>
            </a:lvl3pPr>
            <a:lvl4pPr>
              <a:defRPr lang="de-DE" smtClean="0">
                <a:latin typeface="Arial" charset="0"/>
                <a:ea typeface="ＭＳ Ｐゴシック" pitchFamily="34" charset="-128"/>
                <a:cs typeface="+mn-cs"/>
              </a:defRPr>
            </a:lvl4pPr>
            <a:lvl5pPr>
              <a:defRPr lang="de-AT">
                <a:latin typeface="Arial" charset="0"/>
                <a:ea typeface="ＭＳ Ｐゴシック" pitchFamily="34" charset="-128"/>
                <a:cs typeface="+mn-cs"/>
              </a:defRPr>
            </a:lvl5pPr>
          </a:lstStyle>
          <a:p>
            <a:pPr marL="0" lvl="0" indent="0" defTabSz="762000">
              <a:spcBef>
                <a:spcPct val="0"/>
              </a:spcBef>
            </a:pPr>
            <a:r>
              <a:rPr lang="en-US" noProof="0"/>
              <a:t>Please insert Footer ...</a:t>
            </a:r>
            <a:endParaRPr lang="en-US" noProof="0" dirty="0"/>
          </a:p>
        </p:txBody>
      </p:sp>
      <p:sp>
        <p:nvSpPr>
          <p:cNvPr id="12" name="Content">
            <a:extLst>
              <a:ext uri="{FF2B5EF4-FFF2-40B4-BE49-F238E27FC236}">
                <a16:creationId xmlns:a16="http://schemas.microsoft.com/office/drawing/2014/main" id="{7F3C8235-1FC4-4830-BF9E-F15A87E9AE52}"/>
              </a:ext>
            </a:extLst>
          </p:cNvPr>
          <p:cNvSpPr>
            <a:spLocks noGrp="1"/>
          </p:cNvSpPr>
          <p:nvPr>
            <p:ph sz="quarter" idx="16" hasCustomPrompt="1"/>
          </p:nvPr>
        </p:nvSpPr>
        <p:spPr>
          <a:xfrm>
            <a:off x="482600" y="1841500"/>
            <a:ext cx="11226800" cy="4533900"/>
          </a:xfrm>
          <a:prstGeom prst="rect">
            <a:avLst/>
          </a:prstGeom>
        </p:spPr>
        <p:txBody>
          <a:bodyPr wrap="square" lIns="50800" tIns="50800" rIns="50800" bIns="50800" anchor="t">
            <a:normAutofit/>
          </a:bodyPr>
          <a:lstStyle>
            <a:lvl1pPr algn="l">
              <a:defRPr>
                <a:solidFill>
                  <a:schemeClr val="tx1"/>
                </a:solidFill>
                <a:latin typeface="+mn-lt"/>
              </a:defRPr>
            </a:lvl1pPr>
            <a:lvl2pPr algn="l">
              <a:defRPr>
                <a:solidFill>
                  <a:schemeClr val="tx1"/>
                </a:solidFill>
                <a:latin typeface="+mn-lt"/>
              </a:defRPr>
            </a:lvl2pPr>
            <a:lvl3pPr algn="l">
              <a:defRPr>
                <a:solidFill>
                  <a:schemeClr val="tx1"/>
                </a:solidFill>
                <a:latin typeface="+mn-lt"/>
              </a:defRPr>
            </a:lvl3pPr>
            <a:lvl4pPr algn="l">
              <a:defRPr>
                <a:solidFill>
                  <a:schemeClr val="tx1"/>
                </a:solidFill>
                <a:latin typeface="+mn-lt"/>
              </a:defRPr>
            </a:lvl4pPr>
            <a:lvl5pPr algn="l">
              <a:defRPr>
                <a:solidFill>
                  <a:schemeClr val="tx1"/>
                </a:solidFill>
                <a:latin typeface="+mn-lt"/>
              </a:defRPr>
            </a:lvl5pPr>
          </a:lstStyle>
          <a:p>
            <a:pPr lvl="0"/>
            <a:r>
              <a:rPr lang="en-US" dirty="0"/>
              <a:t>Layer One</a:t>
            </a:r>
          </a:p>
          <a:p>
            <a:pPr lvl="1"/>
            <a:r>
              <a:rPr lang="en-US" dirty="0"/>
              <a:t>Layer Two</a:t>
            </a:r>
          </a:p>
          <a:p>
            <a:pPr lvl="2"/>
            <a:r>
              <a:rPr lang="en-US" dirty="0"/>
              <a:t>Layer Three</a:t>
            </a:r>
          </a:p>
          <a:p>
            <a:pPr lvl="3"/>
            <a:r>
              <a:rPr lang="en-US" dirty="0"/>
              <a:t>Layer Four</a:t>
            </a:r>
          </a:p>
          <a:p>
            <a:pPr lvl="4"/>
            <a:r>
              <a:rPr lang="en-US" dirty="0"/>
              <a:t>Layer Five</a:t>
            </a:r>
          </a:p>
        </p:txBody>
      </p:sp>
      <p:grpSp>
        <p:nvGrpSpPr>
          <p:cNvPr id="14" name="ArrowAndLine">
            <a:extLst>
              <a:ext uri="{FF2B5EF4-FFF2-40B4-BE49-F238E27FC236}">
                <a16:creationId xmlns:a16="http://schemas.microsoft.com/office/drawing/2014/main" id="{D5431303-E3AF-424E-B0AC-A6393AE33064}"/>
              </a:ext>
            </a:extLst>
          </p:cNvPr>
          <p:cNvGrpSpPr/>
          <p:nvPr userDrawn="1"/>
        </p:nvGrpSpPr>
        <p:grpSpPr>
          <a:xfrm>
            <a:off x="482600" y="1308100"/>
            <a:ext cx="720000" cy="216000"/>
            <a:chOff x="720000" y="1476000"/>
            <a:chExt cx="720000" cy="216000"/>
          </a:xfrm>
        </p:grpSpPr>
        <p:cxnSp>
          <p:nvCxnSpPr>
            <p:cNvPr id="17" name="Line">
              <a:extLst>
                <a:ext uri="{FF2B5EF4-FFF2-40B4-BE49-F238E27FC236}">
                  <a16:creationId xmlns:a16="http://schemas.microsoft.com/office/drawing/2014/main" id="{5FE96F12-B468-45EA-8ABD-7F0CBF6810BB}"/>
                </a:ext>
              </a:extLst>
            </p:cNvPr>
            <p:cNvCxnSpPr/>
            <p:nvPr userDrawn="1"/>
          </p:nvCxnSpPr>
          <p:spPr>
            <a:xfrm>
              <a:off x="720000" y="1476000"/>
              <a:ext cx="720000" cy="0"/>
            </a:xfrm>
            <a:prstGeom prst="line">
              <a:avLst/>
            </a:prstGeom>
            <a:ln w="6350">
              <a:solidFill>
                <a:srgbClr val="58585A"/>
              </a:solidFill>
            </a:ln>
          </p:spPr>
          <p:style>
            <a:lnRef idx="1">
              <a:schemeClr val="accent1"/>
            </a:lnRef>
            <a:fillRef idx="0">
              <a:schemeClr val="accent1"/>
            </a:fillRef>
            <a:effectRef idx="0">
              <a:schemeClr val="accent1"/>
            </a:effectRef>
            <a:fontRef idx="minor">
              <a:schemeClr val="tx1"/>
            </a:fontRef>
          </p:style>
        </p:cxnSp>
        <p:sp>
          <p:nvSpPr>
            <p:cNvPr id="19" name="Arrow">
              <a:extLst>
                <a:ext uri="{FF2B5EF4-FFF2-40B4-BE49-F238E27FC236}">
                  <a16:creationId xmlns:a16="http://schemas.microsoft.com/office/drawing/2014/main" id="{0BE04784-30AE-4F78-94D8-30DD6B574236}"/>
                </a:ext>
              </a:extLst>
            </p:cNvPr>
            <p:cNvSpPr>
              <a:spLocks noChangeAspect="1"/>
            </p:cNvSpPr>
            <p:nvPr userDrawn="1"/>
          </p:nvSpPr>
          <p:spPr>
            <a:xfrm flipV="1">
              <a:off x="1008000" y="1584000"/>
              <a:ext cx="144000" cy="108000"/>
            </a:xfrm>
            <a:prstGeom prst="triangle">
              <a:avLst/>
            </a:prstGeom>
            <a:solidFill>
              <a:srgbClr val="0050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grpSp>
      <p:sp>
        <p:nvSpPr>
          <p:cNvPr id="15" name="SubTitle">
            <a:extLst>
              <a:ext uri="{FF2B5EF4-FFF2-40B4-BE49-F238E27FC236}">
                <a16:creationId xmlns:a16="http://schemas.microsoft.com/office/drawing/2014/main" id="{D1309E59-8DBD-4CB5-8E85-FC18A6C01388}"/>
              </a:ext>
            </a:extLst>
          </p:cNvPr>
          <p:cNvSpPr>
            <a:spLocks noGrp="1"/>
          </p:cNvSpPr>
          <p:nvPr>
            <p:ph type="body" sz="quarter" idx="14" hasCustomPrompt="1"/>
            <p:custDataLst>
              <p:tags r:id="rId2"/>
            </p:custDataLst>
          </p:nvPr>
        </p:nvSpPr>
        <p:spPr>
          <a:xfrm>
            <a:off x="482600" y="952500"/>
            <a:ext cx="9359900" cy="279400"/>
          </a:xfrm>
          <a:prstGeom prst="rect">
            <a:avLst/>
          </a:prstGeom>
        </p:spPr>
        <p:txBody>
          <a:bodyPr vert="horz" wrap="square" lIns="0" tIns="0" rIns="0" bIns="0" rtlCol="0" anchor="ctr" anchorCtr="0">
            <a:noAutofit/>
          </a:bodyPr>
          <a:lstStyle>
            <a:lvl1pPr marL="0" indent="0">
              <a:lnSpc>
                <a:spcPct val="100000"/>
              </a:lnSpc>
              <a:spcBef>
                <a:spcPts val="0"/>
              </a:spcBef>
              <a:spcAft>
                <a:spcPts val="0"/>
              </a:spcAft>
              <a:buNone/>
              <a:defRPr lang="de-AT" sz="2200" cap="none" baseline="0" dirty="0">
                <a:solidFill>
                  <a:schemeClr val="tx1"/>
                </a:solidFill>
                <a:latin typeface="+mj-lt"/>
              </a:defRPr>
            </a:lvl1pPr>
          </a:lstStyle>
          <a:p>
            <a:pPr lvl="0"/>
            <a:r>
              <a:rPr lang="en-US"/>
              <a:t>Please insert SubTitle ...</a:t>
            </a:r>
            <a:endParaRPr lang="en-US" dirty="0"/>
          </a:p>
        </p:txBody>
      </p:sp>
      <p:sp>
        <p:nvSpPr>
          <p:cNvPr id="16" name="Title">
            <a:extLst>
              <a:ext uri="{FF2B5EF4-FFF2-40B4-BE49-F238E27FC236}">
                <a16:creationId xmlns:a16="http://schemas.microsoft.com/office/drawing/2014/main" id="{A45B0802-64E6-4DF5-BA53-8951DDF6DE05}"/>
              </a:ext>
            </a:extLst>
          </p:cNvPr>
          <p:cNvSpPr>
            <a:spLocks noGrp="1"/>
          </p:cNvSpPr>
          <p:nvPr>
            <p:ph type="title" hasCustomPrompt="1"/>
          </p:nvPr>
        </p:nvSpPr>
        <p:spPr>
          <a:xfrm>
            <a:off x="482600" y="558800"/>
            <a:ext cx="9359900" cy="355600"/>
          </a:xfrm>
          <a:prstGeom prst="rect">
            <a:avLst/>
          </a:prstGeom>
        </p:spPr>
        <p:txBody>
          <a:bodyPr wrap="square" lIns="0" tIns="0" rIns="0" bIns="0" anchor="ctr">
            <a:noAutofit/>
          </a:bodyPr>
          <a:lstStyle>
            <a:lvl1pPr>
              <a:lnSpc>
                <a:spcPct val="100000"/>
              </a:lnSpc>
              <a:spcBef>
                <a:spcPts val="0"/>
              </a:spcBef>
              <a:spcAft>
                <a:spcPts val="0"/>
              </a:spcAft>
              <a:defRPr sz="2800">
                <a:solidFill>
                  <a:schemeClr val="tx2"/>
                </a:solidFill>
              </a:defRPr>
            </a:lvl1pPr>
          </a:lstStyle>
          <a:p>
            <a:r>
              <a:rPr lang="en-US"/>
              <a:t>Please insert Title ...</a:t>
            </a:r>
            <a:endParaRPr lang="en-US" dirty="0"/>
          </a:p>
        </p:txBody>
      </p:sp>
    </p:spTree>
    <p:extLst>
      <p:ext uri="{BB962C8B-B14F-4D97-AF65-F5344CB8AC3E}">
        <p14:creationId xmlns:p14="http://schemas.microsoft.com/office/powerpoint/2010/main" val="14469642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ith gradient 2">
    <p:bg>
      <p:bgPr>
        <a:gradFill>
          <a:gsLst>
            <a:gs pos="11000">
              <a:schemeClr val="accent1"/>
            </a:gs>
            <a:gs pos="100000">
              <a:schemeClr val="accent3"/>
            </a:gs>
          </a:gsLst>
          <a:lin ang="18900000" scaled="0"/>
        </a:gra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23DC706-FF19-0519-32D1-27E11AEDB41E}"/>
              </a:ext>
            </a:extLst>
          </p:cNvPr>
          <p:cNvGraphicFramePr>
            <a:graphicFrameLocks noChangeAspect="1"/>
          </p:cNvGraphicFramePr>
          <p:nvPr userDrawn="1">
            <p:custDataLst>
              <p:tags r:id="rId1"/>
            </p:custDataLst>
            <p:extLst>
              <p:ext uri="{D42A27DB-BD31-4B8C-83A1-F6EECF244321}">
                <p14:modId xmlns:p14="http://schemas.microsoft.com/office/powerpoint/2010/main" val="1026324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8" name="Objekt 7" hidden="1">
                        <a:extLst>
                          <a:ext uri="{FF2B5EF4-FFF2-40B4-BE49-F238E27FC236}">
                            <a16:creationId xmlns:a16="http://schemas.microsoft.com/office/drawing/2014/main" id="{023DC706-FF19-0519-32D1-27E11AEDB4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Freihandform: Form 33">
            <a:extLst>
              <a:ext uri="{FF2B5EF4-FFF2-40B4-BE49-F238E27FC236}">
                <a16:creationId xmlns:a16="http://schemas.microsoft.com/office/drawing/2014/main" id="{A994A3DB-6021-91F8-F66B-E58B159FC7C9}"/>
              </a:ext>
            </a:extLst>
          </p:cNvPr>
          <p:cNvSpPr/>
          <p:nvPr userDrawn="1"/>
        </p:nvSpPr>
        <p:spPr>
          <a:xfrm flipH="1">
            <a:off x="8791632" y="0"/>
            <a:ext cx="3400369" cy="3251144"/>
          </a:xfrm>
          <a:custGeom>
            <a:avLst/>
            <a:gdLst>
              <a:gd name="connsiteX0" fmla="*/ 3400369 w 3400369"/>
              <a:gd name="connsiteY0" fmla="*/ 0 h 3251144"/>
              <a:gd name="connsiteX1" fmla="*/ 550671 w 3400369"/>
              <a:gd name="connsiteY1" fmla="*/ 0 h 3251144"/>
              <a:gd name="connsiteX2" fmla="*/ 0 w 3400369"/>
              <a:gd name="connsiteY2" fmla="*/ 732890 h 3251144"/>
              <a:gd name="connsiteX3" fmla="*/ 0 w 3400369"/>
              <a:gd name="connsiteY3" fmla="*/ 3251144 h 3251144"/>
              <a:gd name="connsiteX4" fmla="*/ 920144 w 3400369"/>
              <a:gd name="connsiteY4" fmla="*/ 3251144 h 3251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0369" h="3251144">
                <a:moveTo>
                  <a:pt x="3400369" y="0"/>
                </a:moveTo>
                <a:lnTo>
                  <a:pt x="550671" y="0"/>
                </a:lnTo>
                <a:lnTo>
                  <a:pt x="0" y="732890"/>
                </a:lnTo>
                <a:lnTo>
                  <a:pt x="0" y="3251144"/>
                </a:lnTo>
                <a:lnTo>
                  <a:pt x="920144" y="3251144"/>
                </a:lnTo>
                <a:close/>
              </a:path>
            </a:pathLst>
          </a:custGeom>
          <a:gradFill>
            <a:gsLst>
              <a:gs pos="11000">
                <a:schemeClr val="accent1"/>
              </a:gs>
              <a:gs pos="100000">
                <a:schemeClr val="accent3"/>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p>
        </p:txBody>
      </p:sp>
      <p:sp>
        <p:nvSpPr>
          <p:cNvPr id="32" name="Freihandform: Form 31">
            <a:extLst>
              <a:ext uri="{FF2B5EF4-FFF2-40B4-BE49-F238E27FC236}">
                <a16:creationId xmlns:a16="http://schemas.microsoft.com/office/drawing/2014/main" id="{849EE277-AC61-3D32-CC44-3B3D67795364}"/>
              </a:ext>
            </a:extLst>
          </p:cNvPr>
          <p:cNvSpPr/>
          <p:nvPr userDrawn="1"/>
        </p:nvSpPr>
        <p:spPr>
          <a:xfrm>
            <a:off x="6228249" y="0"/>
            <a:ext cx="5292506" cy="3251144"/>
          </a:xfrm>
          <a:custGeom>
            <a:avLst/>
            <a:gdLst>
              <a:gd name="connsiteX0" fmla="*/ 2442807 w 5292506"/>
              <a:gd name="connsiteY0" fmla="*/ 0 h 3251144"/>
              <a:gd name="connsiteX1" fmla="*/ 5292506 w 5292506"/>
              <a:gd name="connsiteY1" fmla="*/ 0 h 3251144"/>
              <a:gd name="connsiteX2" fmla="*/ 2812281 w 5292506"/>
              <a:gd name="connsiteY2" fmla="*/ 3251144 h 3251144"/>
              <a:gd name="connsiteX3" fmla="*/ 0 w 5292506"/>
              <a:gd name="connsiteY3" fmla="*/ 3251144 h 3251144"/>
            </a:gdLst>
            <a:ahLst/>
            <a:cxnLst>
              <a:cxn ang="0">
                <a:pos x="connsiteX0" y="connsiteY0"/>
              </a:cxn>
              <a:cxn ang="0">
                <a:pos x="connsiteX1" y="connsiteY1"/>
              </a:cxn>
              <a:cxn ang="0">
                <a:pos x="connsiteX2" y="connsiteY2"/>
              </a:cxn>
              <a:cxn ang="0">
                <a:pos x="connsiteX3" y="connsiteY3"/>
              </a:cxn>
            </a:cxnLst>
            <a:rect l="l" t="t" r="r" b="b"/>
            <a:pathLst>
              <a:path w="5292506" h="3251144">
                <a:moveTo>
                  <a:pt x="2442807" y="0"/>
                </a:moveTo>
                <a:lnTo>
                  <a:pt x="5292506" y="0"/>
                </a:lnTo>
                <a:lnTo>
                  <a:pt x="2812281" y="3251144"/>
                </a:lnTo>
                <a:lnTo>
                  <a:pt x="0" y="3251144"/>
                </a:lnTo>
                <a:close/>
              </a:path>
            </a:pathLst>
          </a:custGeom>
          <a:gradFill>
            <a:gsLst>
              <a:gs pos="0">
                <a:schemeClr val="accent1"/>
              </a:gs>
              <a:gs pos="100000">
                <a:schemeClr val="accent1">
                  <a:alpha val="0"/>
                </a:schemeClr>
              </a:gs>
            </a:gsLst>
            <a:lin ang="5400000" scaled="1"/>
          </a:gradFill>
          <a:ln w="6540" cap="flat">
            <a:noFill/>
            <a:prstDash val="solid"/>
            <a:miter/>
          </a:ln>
        </p:spPr>
        <p:txBody>
          <a:bodyPr wrap="square" rtlCol="0" anchor="ctr">
            <a:noAutofit/>
          </a:bodyPr>
          <a:lstStyle/>
          <a:p>
            <a:pPr lvl="0"/>
            <a:endParaRPr lang="en-GB" dirty="0">
              <a:solidFill>
                <a:schemeClr val="tx1"/>
              </a:solidFill>
            </a:endParaRPr>
          </a:p>
        </p:txBody>
      </p:sp>
      <p:sp>
        <p:nvSpPr>
          <p:cNvPr id="30" name="Freihandform: Form 29">
            <a:extLst>
              <a:ext uri="{FF2B5EF4-FFF2-40B4-BE49-F238E27FC236}">
                <a16:creationId xmlns:a16="http://schemas.microsoft.com/office/drawing/2014/main" id="{0AFA0D22-A622-3DC7-6219-76828DDDACA0}"/>
              </a:ext>
            </a:extLst>
          </p:cNvPr>
          <p:cNvSpPr/>
          <p:nvPr userDrawn="1"/>
        </p:nvSpPr>
        <p:spPr>
          <a:xfrm flipH="1">
            <a:off x="3615539" y="0"/>
            <a:ext cx="5292507" cy="3251144"/>
          </a:xfrm>
          <a:custGeom>
            <a:avLst/>
            <a:gdLst>
              <a:gd name="connsiteX0" fmla="*/ 5292507 w 5292507"/>
              <a:gd name="connsiteY0" fmla="*/ 0 h 3251144"/>
              <a:gd name="connsiteX1" fmla="*/ 2442808 w 5292507"/>
              <a:gd name="connsiteY1" fmla="*/ 0 h 3251144"/>
              <a:gd name="connsiteX2" fmla="*/ 0 w 5292507"/>
              <a:gd name="connsiteY2" fmla="*/ 3251144 h 3251144"/>
              <a:gd name="connsiteX3" fmla="*/ 2812282 w 5292507"/>
              <a:gd name="connsiteY3" fmla="*/ 3251144 h 3251144"/>
            </a:gdLst>
            <a:ahLst/>
            <a:cxnLst>
              <a:cxn ang="0">
                <a:pos x="connsiteX0" y="connsiteY0"/>
              </a:cxn>
              <a:cxn ang="0">
                <a:pos x="connsiteX1" y="connsiteY1"/>
              </a:cxn>
              <a:cxn ang="0">
                <a:pos x="connsiteX2" y="connsiteY2"/>
              </a:cxn>
              <a:cxn ang="0">
                <a:pos x="connsiteX3" y="connsiteY3"/>
              </a:cxn>
            </a:cxnLst>
            <a:rect l="l" t="t" r="r" b="b"/>
            <a:pathLst>
              <a:path w="5292507" h="3251144">
                <a:moveTo>
                  <a:pt x="5292507" y="0"/>
                </a:moveTo>
                <a:lnTo>
                  <a:pt x="2442808" y="0"/>
                </a:lnTo>
                <a:lnTo>
                  <a:pt x="0" y="3251144"/>
                </a:lnTo>
                <a:lnTo>
                  <a:pt x="2812282" y="3251144"/>
                </a:lnTo>
                <a:close/>
              </a:path>
            </a:pathLst>
          </a:custGeom>
          <a:gradFill>
            <a:gsLst>
              <a:gs pos="11000">
                <a:schemeClr val="accent1"/>
              </a:gs>
              <a:gs pos="100000">
                <a:schemeClr val="accent3"/>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solidFill>
                <a:schemeClr val="lt1"/>
              </a:solidFill>
            </a:endParaRPr>
          </a:p>
        </p:txBody>
      </p:sp>
      <p:sp>
        <p:nvSpPr>
          <p:cNvPr id="27" name="Freihandform: Form 26">
            <a:extLst>
              <a:ext uri="{FF2B5EF4-FFF2-40B4-BE49-F238E27FC236}">
                <a16:creationId xmlns:a16="http://schemas.microsoft.com/office/drawing/2014/main" id="{27B79729-C41A-FF29-4063-ABCA279ED4CF}"/>
              </a:ext>
            </a:extLst>
          </p:cNvPr>
          <p:cNvSpPr/>
          <p:nvPr userDrawn="1"/>
        </p:nvSpPr>
        <p:spPr>
          <a:xfrm>
            <a:off x="1052155" y="0"/>
            <a:ext cx="5292508" cy="3251144"/>
          </a:xfrm>
          <a:custGeom>
            <a:avLst/>
            <a:gdLst>
              <a:gd name="connsiteX0" fmla="*/ 2442809 w 5292508"/>
              <a:gd name="connsiteY0" fmla="*/ 0 h 3251144"/>
              <a:gd name="connsiteX1" fmla="*/ 5292508 w 5292508"/>
              <a:gd name="connsiteY1" fmla="*/ 0 h 3251144"/>
              <a:gd name="connsiteX2" fmla="*/ 2812283 w 5292508"/>
              <a:gd name="connsiteY2" fmla="*/ 3251144 h 3251144"/>
              <a:gd name="connsiteX3" fmla="*/ 0 w 5292508"/>
              <a:gd name="connsiteY3" fmla="*/ 3251144 h 3251144"/>
            </a:gdLst>
            <a:ahLst/>
            <a:cxnLst>
              <a:cxn ang="0">
                <a:pos x="connsiteX0" y="connsiteY0"/>
              </a:cxn>
              <a:cxn ang="0">
                <a:pos x="connsiteX1" y="connsiteY1"/>
              </a:cxn>
              <a:cxn ang="0">
                <a:pos x="connsiteX2" y="connsiteY2"/>
              </a:cxn>
              <a:cxn ang="0">
                <a:pos x="connsiteX3" y="connsiteY3"/>
              </a:cxn>
            </a:cxnLst>
            <a:rect l="l" t="t" r="r" b="b"/>
            <a:pathLst>
              <a:path w="5292508" h="3251144">
                <a:moveTo>
                  <a:pt x="2442809" y="0"/>
                </a:moveTo>
                <a:lnTo>
                  <a:pt x="5292508" y="0"/>
                </a:lnTo>
                <a:lnTo>
                  <a:pt x="2812283" y="3251144"/>
                </a:lnTo>
                <a:lnTo>
                  <a:pt x="0" y="3251144"/>
                </a:lnTo>
                <a:close/>
              </a:path>
            </a:pathLst>
          </a:custGeom>
          <a:gradFill>
            <a:gsLst>
              <a:gs pos="0">
                <a:schemeClr val="accent1"/>
              </a:gs>
              <a:gs pos="100000">
                <a:schemeClr val="accent1">
                  <a:alpha val="0"/>
                </a:schemeClr>
              </a:gs>
            </a:gsLst>
            <a:lin ang="5400000" scaled="1"/>
          </a:gradFill>
          <a:ln w="6540" cap="flat">
            <a:noFill/>
            <a:prstDash val="solid"/>
            <a:miter/>
          </a:ln>
        </p:spPr>
        <p:txBody>
          <a:bodyPr wrap="square" rtlCol="0" anchor="ctr">
            <a:noAutofit/>
          </a:bodyPr>
          <a:lstStyle/>
          <a:p>
            <a:pPr lvl="0"/>
            <a:endParaRPr lang="en-GB" dirty="0">
              <a:solidFill>
                <a:schemeClr val="tx1"/>
              </a:solidFill>
            </a:endParaRPr>
          </a:p>
        </p:txBody>
      </p:sp>
      <p:sp>
        <p:nvSpPr>
          <p:cNvPr id="24" name="Freihandform: Form 23">
            <a:extLst>
              <a:ext uri="{FF2B5EF4-FFF2-40B4-BE49-F238E27FC236}">
                <a16:creationId xmlns:a16="http://schemas.microsoft.com/office/drawing/2014/main" id="{69F0BBE3-FAB3-B2CB-1D05-8B4DEF8CB317}"/>
              </a:ext>
            </a:extLst>
          </p:cNvPr>
          <p:cNvSpPr/>
          <p:nvPr userDrawn="1"/>
        </p:nvSpPr>
        <p:spPr>
          <a:xfrm flipH="1" flipV="1">
            <a:off x="8757799" y="3555267"/>
            <a:ext cx="3434201" cy="3302733"/>
          </a:xfrm>
          <a:custGeom>
            <a:avLst/>
            <a:gdLst>
              <a:gd name="connsiteX0" fmla="*/ 914620 w 3434201"/>
              <a:gd name="connsiteY0" fmla="*/ 3302733 h 3302733"/>
              <a:gd name="connsiteX1" fmla="*/ 0 w 3434201"/>
              <a:gd name="connsiteY1" fmla="*/ 3302733 h 3302733"/>
              <a:gd name="connsiteX2" fmla="*/ 0 w 3434201"/>
              <a:gd name="connsiteY2" fmla="*/ 777127 h 3302733"/>
              <a:gd name="connsiteX3" fmla="*/ 583909 w 3434201"/>
              <a:gd name="connsiteY3" fmla="*/ 0 h 3302733"/>
              <a:gd name="connsiteX4" fmla="*/ 3434201 w 3434201"/>
              <a:gd name="connsiteY4" fmla="*/ 0 h 3302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4201" h="3302733">
                <a:moveTo>
                  <a:pt x="914620" y="3302733"/>
                </a:moveTo>
                <a:lnTo>
                  <a:pt x="0" y="3302733"/>
                </a:lnTo>
                <a:lnTo>
                  <a:pt x="0" y="777127"/>
                </a:lnTo>
                <a:lnTo>
                  <a:pt x="583909" y="0"/>
                </a:lnTo>
                <a:lnTo>
                  <a:pt x="3434201" y="0"/>
                </a:lnTo>
                <a:close/>
              </a:path>
            </a:pathLst>
          </a:custGeom>
          <a:gradFill>
            <a:gsLst>
              <a:gs pos="11000">
                <a:schemeClr val="accent1"/>
              </a:gs>
              <a:gs pos="100000">
                <a:schemeClr val="accent3"/>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dirty="0"/>
          </a:p>
        </p:txBody>
      </p:sp>
      <p:sp>
        <p:nvSpPr>
          <p:cNvPr id="20" name="Freihandform: Form 19">
            <a:extLst>
              <a:ext uri="{FF2B5EF4-FFF2-40B4-BE49-F238E27FC236}">
                <a16:creationId xmlns:a16="http://schemas.microsoft.com/office/drawing/2014/main" id="{91114AED-B58A-A268-0C06-B77DE53675BE}"/>
              </a:ext>
            </a:extLst>
          </p:cNvPr>
          <p:cNvSpPr/>
          <p:nvPr userDrawn="1"/>
        </p:nvSpPr>
        <p:spPr>
          <a:xfrm flipV="1">
            <a:off x="6272744" y="3555267"/>
            <a:ext cx="5331862" cy="3302733"/>
          </a:xfrm>
          <a:custGeom>
            <a:avLst/>
            <a:gdLst>
              <a:gd name="connsiteX0" fmla="*/ 0 w 5331862"/>
              <a:gd name="connsiteY0" fmla="*/ 3302733 h 3302733"/>
              <a:gd name="connsiteX1" fmla="*/ 2812281 w 5331862"/>
              <a:gd name="connsiteY1" fmla="*/ 3302733 h 3302733"/>
              <a:gd name="connsiteX2" fmla="*/ 5331862 w 5331862"/>
              <a:gd name="connsiteY2" fmla="*/ 0 h 3302733"/>
              <a:gd name="connsiteX3" fmla="*/ 2481570 w 5331862"/>
              <a:gd name="connsiteY3" fmla="*/ 0 h 3302733"/>
            </a:gdLst>
            <a:ahLst/>
            <a:cxnLst>
              <a:cxn ang="0">
                <a:pos x="connsiteX0" y="connsiteY0"/>
              </a:cxn>
              <a:cxn ang="0">
                <a:pos x="connsiteX1" y="connsiteY1"/>
              </a:cxn>
              <a:cxn ang="0">
                <a:pos x="connsiteX2" y="connsiteY2"/>
              </a:cxn>
              <a:cxn ang="0">
                <a:pos x="connsiteX3" y="connsiteY3"/>
              </a:cxn>
            </a:cxnLst>
            <a:rect l="l" t="t" r="r" b="b"/>
            <a:pathLst>
              <a:path w="5331862" h="3302733">
                <a:moveTo>
                  <a:pt x="0" y="3302733"/>
                </a:moveTo>
                <a:lnTo>
                  <a:pt x="2812281" y="3302733"/>
                </a:lnTo>
                <a:lnTo>
                  <a:pt x="5331862" y="0"/>
                </a:lnTo>
                <a:lnTo>
                  <a:pt x="2481570" y="0"/>
                </a:lnTo>
                <a:close/>
              </a:path>
            </a:pathLst>
          </a:custGeom>
          <a:gradFill>
            <a:gsLst>
              <a:gs pos="0">
                <a:schemeClr val="accent1"/>
              </a:gs>
              <a:gs pos="100000">
                <a:schemeClr val="accent1">
                  <a:alpha val="0"/>
                </a:schemeClr>
              </a:gs>
            </a:gsLst>
            <a:lin ang="5400000" scaled="1"/>
          </a:gradFill>
          <a:ln w="6540" cap="flat">
            <a:noFill/>
            <a:prstDash val="solid"/>
            <a:miter/>
          </a:ln>
        </p:spPr>
        <p:txBody>
          <a:bodyPr wrap="square" rtlCol="0" anchor="ctr">
            <a:noAutofit/>
          </a:bodyPr>
          <a:lstStyle/>
          <a:p>
            <a:pPr lvl="0"/>
            <a:endParaRPr lang="en-GB" dirty="0">
              <a:solidFill>
                <a:schemeClr val="tx1"/>
              </a:solidFill>
            </a:endParaRPr>
          </a:p>
        </p:txBody>
      </p:sp>
      <p:sp>
        <p:nvSpPr>
          <p:cNvPr id="4" name="Titel 1">
            <a:extLst>
              <a:ext uri="{FF2B5EF4-FFF2-40B4-BE49-F238E27FC236}">
                <a16:creationId xmlns:a16="http://schemas.microsoft.com/office/drawing/2014/main" id="{F0527B2F-1364-7AC3-C6CC-E3D2982A6020}"/>
              </a:ext>
            </a:extLst>
          </p:cNvPr>
          <p:cNvSpPr>
            <a:spLocks noGrp="1"/>
          </p:cNvSpPr>
          <p:nvPr>
            <p:ph type="ctrTitle" hasCustomPrompt="1"/>
          </p:nvPr>
        </p:nvSpPr>
        <p:spPr>
          <a:xfrm>
            <a:off x="695324" y="4622312"/>
            <a:ext cx="7560000" cy="443198"/>
          </a:xfrm>
        </p:spPr>
        <p:txBody>
          <a:bodyPr vert="horz" wrap="square" anchor="b"/>
          <a:lstStyle>
            <a:lvl1pPr algn="l">
              <a:defRPr sz="3200">
                <a:solidFill>
                  <a:schemeClr val="bg1"/>
                </a:solidFill>
              </a:defRPr>
            </a:lvl1pPr>
          </a:lstStyle>
          <a:p>
            <a:r>
              <a:rPr lang="de-DE" dirty="0"/>
              <a:t>Title in </a:t>
            </a:r>
            <a:r>
              <a:rPr lang="de-DE" dirty="0" err="1"/>
              <a:t>one</a:t>
            </a:r>
            <a:r>
              <a:rPr lang="de-DE" dirty="0"/>
              <a:t> </a:t>
            </a:r>
            <a:r>
              <a:rPr lang="de-DE" dirty="0" err="1"/>
              <a:t>line</a:t>
            </a:r>
            <a:r>
              <a:rPr lang="de-DE" dirty="0"/>
              <a:t>, Calibri </a:t>
            </a:r>
            <a:r>
              <a:rPr lang="de-DE" dirty="0" err="1"/>
              <a:t>Bold</a:t>
            </a:r>
            <a:r>
              <a:rPr lang="de-DE" dirty="0"/>
              <a:t>, 32pt</a:t>
            </a:r>
            <a:endParaRPr lang="en-US" dirty="0"/>
          </a:p>
        </p:txBody>
      </p:sp>
      <p:sp>
        <p:nvSpPr>
          <p:cNvPr id="5" name="Untertitel 2">
            <a:extLst>
              <a:ext uri="{FF2B5EF4-FFF2-40B4-BE49-F238E27FC236}">
                <a16:creationId xmlns:a16="http://schemas.microsoft.com/office/drawing/2014/main" id="{C25D7A42-9FFF-BD0C-2B43-D9A06314EF65}"/>
              </a:ext>
            </a:extLst>
          </p:cNvPr>
          <p:cNvSpPr>
            <a:spLocks noGrp="1"/>
          </p:cNvSpPr>
          <p:nvPr>
            <p:ph type="subTitle" idx="1" hasCustomPrompt="1"/>
          </p:nvPr>
        </p:nvSpPr>
        <p:spPr>
          <a:xfrm>
            <a:off x="695324" y="5292725"/>
            <a:ext cx="7560000" cy="307777"/>
          </a:xfrm>
        </p:spPr>
        <p:txBody>
          <a:bodyPr wrap="square">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err="1"/>
              <a:t>Subtitle</a:t>
            </a:r>
            <a:r>
              <a:rPr lang="de-DE" dirty="0"/>
              <a:t> in </a:t>
            </a:r>
            <a:r>
              <a:rPr lang="de-DE" dirty="0" err="1"/>
              <a:t>one</a:t>
            </a:r>
            <a:r>
              <a:rPr lang="de-DE" dirty="0"/>
              <a:t> </a:t>
            </a:r>
            <a:r>
              <a:rPr lang="de-DE" dirty="0" err="1"/>
              <a:t>line</a:t>
            </a:r>
            <a:r>
              <a:rPr lang="de-DE" dirty="0"/>
              <a:t>, Calibri Light, 20pt</a:t>
            </a:r>
            <a:endParaRPr lang="en-US" dirty="0"/>
          </a:p>
        </p:txBody>
      </p:sp>
      <p:cxnSp>
        <p:nvCxnSpPr>
          <p:cNvPr id="6" name="Gerader Verbinder 5">
            <a:extLst>
              <a:ext uri="{FF2B5EF4-FFF2-40B4-BE49-F238E27FC236}">
                <a16:creationId xmlns:a16="http://schemas.microsoft.com/office/drawing/2014/main" id="{9B358EFD-6AB0-B9D7-D108-89963E62378D}"/>
              </a:ext>
            </a:extLst>
          </p:cNvPr>
          <p:cNvCxnSpPr>
            <a:cxnSpLocks/>
          </p:cNvCxnSpPr>
          <p:nvPr userDrawn="1"/>
        </p:nvCxnSpPr>
        <p:spPr>
          <a:xfrm>
            <a:off x="695324" y="5179117"/>
            <a:ext cx="68961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Box 28">
            <a:extLst>
              <a:ext uri="{FF2B5EF4-FFF2-40B4-BE49-F238E27FC236}">
                <a16:creationId xmlns:a16="http://schemas.microsoft.com/office/drawing/2014/main" id="{0F142C4B-50A7-F05E-6BAA-FAF09DC22154}"/>
              </a:ext>
            </a:extLst>
          </p:cNvPr>
          <p:cNvSpPr txBox="1"/>
          <p:nvPr userDrawn="1"/>
        </p:nvSpPr>
        <p:spPr>
          <a:xfrm>
            <a:off x="695325" y="2310804"/>
            <a:ext cx="3497811" cy="492443"/>
          </a:xfrm>
          <a:prstGeom prst="rect">
            <a:avLst/>
          </a:prstGeom>
          <a:noFill/>
        </p:spPr>
        <p:txBody>
          <a:bodyPr wrap="square" lIns="0" tIns="0" rIns="0" bIns="0" rtlCol="0">
            <a:spAutoFit/>
          </a:bodyPr>
          <a:lstStyle/>
          <a:p>
            <a:pPr algn="l"/>
            <a:r>
              <a:rPr lang="en-GB" sz="2000" b="1" dirty="0">
                <a:solidFill>
                  <a:srgbClr val="FFFFFF"/>
                </a:solidFill>
                <a:effectLst/>
                <a:latin typeface="Calibri" panose="020F0502020204030204" pitchFamily="34" charset="0"/>
              </a:rPr>
              <a:t>Explore the Kontron Group</a:t>
            </a:r>
          </a:p>
          <a:p>
            <a:pPr algn="l"/>
            <a:r>
              <a:rPr lang="en-US" sz="1200" dirty="0">
                <a:solidFill>
                  <a:srgbClr val="FFFFFF"/>
                </a:solidFill>
                <a:effectLst/>
                <a:latin typeface="Calibri Light" panose="020F0302020204030204" pitchFamily="34" charset="0"/>
              </a:rPr>
              <a:t>We are a fast-moving multinational technology leader.</a:t>
            </a:r>
            <a:endParaRPr lang="en-GB" sz="1200" dirty="0">
              <a:solidFill>
                <a:srgbClr val="FFFFFF"/>
              </a:solidFill>
              <a:effectLst/>
              <a:latin typeface="Calibri Light" panose="020F0302020204030204" pitchFamily="34" charset="0"/>
            </a:endParaRPr>
          </a:p>
        </p:txBody>
      </p:sp>
      <p:grpSp>
        <p:nvGrpSpPr>
          <p:cNvPr id="2" name="Gruppieren 1">
            <a:extLst>
              <a:ext uri="{FF2B5EF4-FFF2-40B4-BE49-F238E27FC236}">
                <a16:creationId xmlns:a16="http://schemas.microsoft.com/office/drawing/2014/main" id="{17EAB529-1BB6-9AFD-831A-A3FFDBC74B71}"/>
              </a:ext>
            </a:extLst>
          </p:cNvPr>
          <p:cNvGrpSpPr/>
          <p:nvPr userDrawn="1"/>
        </p:nvGrpSpPr>
        <p:grpSpPr>
          <a:xfrm>
            <a:off x="695324" y="1628872"/>
            <a:ext cx="2998881" cy="568325"/>
            <a:chOff x="10407695" y="441325"/>
            <a:chExt cx="1088979" cy="206375"/>
          </a:xfrm>
          <a:solidFill>
            <a:schemeClr val="bg1"/>
          </a:solidFill>
        </p:grpSpPr>
        <p:sp>
          <p:nvSpPr>
            <p:cNvPr id="3" name="Freeform: Shape 10">
              <a:extLst>
                <a:ext uri="{FF2B5EF4-FFF2-40B4-BE49-F238E27FC236}">
                  <a16:creationId xmlns:a16="http://schemas.microsoft.com/office/drawing/2014/main" id="{233F52CE-64ED-0035-DA4F-4EBC3FF37A4D}"/>
                </a:ext>
              </a:extLst>
            </p:cNvPr>
            <p:cNvSpPr/>
            <p:nvPr/>
          </p:nvSpPr>
          <p:spPr>
            <a:xfrm>
              <a:off x="10407695" y="441325"/>
              <a:ext cx="54179" cy="202059"/>
            </a:xfrm>
            <a:custGeom>
              <a:avLst/>
              <a:gdLst>
                <a:gd name="connsiteX0" fmla="*/ 92671 w 92670"/>
                <a:gd name="connsiteY0" fmla="*/ 0 h 338478"/>
                <a:gd name="connsiteX1" fmla="*/ 0 w 92670"/>
                <a:gd name="connsiteY1" fmla="*/ 0 h 338478"/>
                <a:gd name="connsiteX2" fmla="*/ 0 w 92670"/>
                <a:gd name="connsiteY2" fmla="*/ 338478 h 338478"/>
                <a:gd name="connsiteX3" fmla="*/ 92671 w 92670"/>
                <a:gd name="connsiteY3" fmla="*/ 217546 h 338478"/>
              </a:gdLst>
              <a:ahLst/>
              <a:cxnLst>
                <a:cxn ang="0">
                  <a:pos x="connsiteX0" y="connsiteY0"/>
                </a:cxn>
                <a:cxn ang="0">
                  <a:pos x="connsiteX1" y="connsiteY1"/>
                </a:cxn>
                <a:cxn ang="0">
                  <a:pos x="connsiteX2" y="connsiteY2"/>
                </a:cxn>
                <a:cxn ang="0">
                  <a:pos x="connsiteX3" y="connsiteY3"/>
                </a:cxn>
              </a:cxnLst>
              <a:rect l="l" t="t" r="r" b="b"/>
              <a:pathLst>
                <a:path w="92670" h="338478">
                  <a:moveTo>
                    <a:pt x="92671" y="0"/>
                  </a:moveTo>
                  <a:lnTo>
                    <a:pt x="0" y="0"/>
                  </a:lnTo>
                  <a:lnTo>
                    <a:pt x="0" y="338478"/>
                  </a:lnTo>
                  <a:lnTo>
                    <a:pt x="92671" y="217546"/>
                  </a:lnTo>
                  <a:close/>
                </a:path>
              </a:pathLst>
            </a:custGeom>
            <a:grpFill/>
            <a:ln w="6540" cap="flat">
              <a:noFill/>
              <a:prstDash val="solid"/>
              <a:miter/>
            </a:ln>
          </p:spPr>
          <p:txBody>
            <a:bodyPr rtlCol="0" anchor="ctr"/>
            <a:lstStyle/>
            <a:p>
              <a:endParaRPr lang="en-GB"/>
            </a:p>
          </p:txBody>
        </p:sp>
        <p:sp>
          <p:nvSpPr>
            <p:cNvPr id="7" name="Freeform: Shape 11">
              <a:extLst>
                <a:ext uri="{FF2B5EF4-FFF2-40B4-BE49-F238E27FC236}">
                  <a16:creationId xmlns:a16="http://schemas.microsoft.com/office/drawing/2014/main" id="{44368AB9-F351-7BA5-5F6D-E28FA28DD128}"/>
                </a:ext>
              </a:extLst>
            </p:cNvPr>
            <p:cNvSpPr/>
            <p:nvPr/>
          </p:nvSpPr>
          <p:spPr>
            <a:xfrm>
              <a:off x="10461874" y="441325"/>
              <a:ext cx="1034800" cy="206375"/>
            </a:xfrm>
            <a:custGeom>
              <a:avLst/>
              <a:gdLst>
                <a:gd name="connsiteX0" fmla="*/ 196515 w 1769954"/>
                <a:gd name="connsiteY0" fmla="*/ 92671 h 345708"/>
                <a:gd name="connsiteX1" fmla="*/ 99243 w 1769954"/>
                <a:gd name="connsiteY1" fmla="*/ 217546 h 345708"/>
                <a:gd name="connsiteX2" fmla="*/ 194543 w 1769954"/>
                <a:gd name="connsiteY2" fmla="*/ 338478 h 345708"/>
                <a:gd name="connsiteX3" fmla="*/ 84784 w 1769954"/>
                <a:gd name="connsiteY3" fmla="*/ 338478 h 345708"/>
                <a:gd name="connsiteX4" fmla="*/ 0 w 1769954"/>
                <a:gd name="connsiteY4" fmla="*/ 217546 h 345708"/>
                <a:gd name="connsiteX5" fmla="*/ 95300 w 1769954"/>
                <a:gd name="connsiteY5" fmla="*/ 93328 h 345708"/>
                <a:gd name="connsiteX6" fmla="*/ 196515 w 1769954"/>
                <a:gd name="connsiteY6" fmla="*/ 92671 h 345708"/>
                <a:gd name="connsiteX7" fmla="*/ 338478 w 1769954"/>
                <a:gd name="connsiteY7" fmla="*/ 85441 h 345708"/>
                <a:gd name="connsiteX8" fmla="*/ 195857 w 1769954"/>
                <a:gd name="connsiteY8" fmla="*/ 215575 h 345708"/>
                <a:gd name="connsiteX9" fmla="*/ 338478 w 1769954"/>
                <a:gd name="connsiteY9" fmla="*/ 345708 h 345708"/>
                <a:gd name="connsiteX10" fmla="*/ 481100 w 1769954"/>
                <a:gd name="connsiteY10" fmla="*/ 215575 h 345708"/>
                <a:gd name="connsiteX11" fmla="*/ 338478 w 1769954"/>
                <a:gd name="connsiteY11" fmla="*/ 85441 h 345708"/>
                <a:gd name="connsiteX12" fmla="*/ 291157 w 1769954"/>
                <a:gd name="connsiteY12" fmla="*/ 215575 h 345708"/>
                <a:gd name="connsiteX13" fmla="*/ 338478 w 1769954"/>
                <a:gd name="connsiteY13" fmla="*/ 139335 h 345708"/>
                <a:gd name="connsiteX14" fmla="*/ 385800 w 1769954"/>
                <a:gd name="connsiteY14" fmla="*/ 215575 h 345708"/>
                <a:gd name="connsiteX15" fmla="*/ 338478 w 1769954"/>
                <a:gd name="connsiteY15" fmla="*/ 291814 h 345708"/>
                <a:gd name="connsiteX16" fmla="*/ 291157 w 1769954"/>
                <a:gd name="connsiteY16" fmla="*/ 215575 h 345708"/>
                <a:gd name="connsiteX17" fmla="*/ 683529 w 1769954"/>
                <a:gd name="connsiteY17" fmla="*/ 85441 h 345708"/>
                <a:gd name="connsiteX18" fmla="*/ 606632 w 1769954"/>
                <a:gd name="connsiteY18" fmla="*/ 119618 h 345708"/>
                <a:gd name="connsiteX19" fmla="*/ 605318 w 1769954"/>
                <a:gd name="connsiteY19" fmla="*/ 92671 h 345708"/>
                <a:gd name="connsiteX20" fmla="*/ 513962 w 1769954"/>
                <a:gd name="connsiteY20" fmla="*/ 92671 h 345708"/>
                <a:gd name="connsiteX21" fmla="*/ 513962 w 1769954"/>
                <a:gd name="connsiteY21" fmla="*/ 337821 h 345708"/>
                <a:gd name="connsiteX22" fmla="*/ 606632 w 1769954"/>
                <a:gd name="connsiteY22" fmla="*/ 337821 h 345708"/>
                <a:gd name="connsiteX23" fmla="*/ 606632 w 1769954"/>
                <a:gd name="connsiteY23" fmla="*/ 197172 h 345708"/>
                <a:gd name="connsiteX24" fmla="*/ 646724 w 1769954"/>
                <a:gd name="connsiteY24" fmla="*/ 143935 h 345708"/>
                <a:gd name="connsiteX25" fmla="*/ 682215 w 1769954"/>
                <a:gd name="connsiteY25" fmla="*/ 193886 h 345708"/>
                <a:gd name="connsiteX26" fmla="*/ 682215 w 1769954"/>
                <a:gd name="connsiteY26" fmla="*/ 337821 h 345708"/>
                <a:gd name="connsiteX27" fmla="*/ 774886 w 1769954"/>
                <a:gd name="connsiteY27" fmla="*/ 337821 h 345708"/>
                <a:gd name="connsiteX28" fmla="*/ 774886 w 1769954"/>
                <a:gd name="connsiteY28" fmla="*/ 173511 h 345708"/>
                <a:gd name="connsiteX29" fmla="*/ 683529 w 1769954"/>
                <a:gd name="connsiteY29" fmla="*/ 85441 h 345708"/>
                <a:gd name="connsiteX30" fmla="*/ 815635 w 1769954"/>
                <a:gd name="connsiteY30" fmla="*/ 260924 h 345708"/>
                <a:gd name="connsiteX31" fmla="*/ 912249 w 1769954"/>
                <a:gd name="connsiteY31" fmla="*/ 345051 h 345708"/>
                <a:gd name="connsiteX32" fmla="*/ 962199 w 1769954"/>
                <a:gd name="connsiteY32" fmla="*/ 340450 h 345708"/>
                <a:gd name="connsiteX33" fmla="*/ 962199 w 1769954"/>
                <a:gd name="connsiteY33" fmla="*/ 285242 h 345708"/>
                <a:gd name="connsiteX34" fmla="*/ 926708 w 1769954"/>
                <a:gd name="connsiteY34" fmla="*/ 286556 h 345708"/>
                <a:gd name="connsiteX35" fmla="*/ 908963 w 1769954"/>
                <a:gd name="connsiteY35" fmla="*/ 248437 h 345708"/>
                <a:gd name="connsiteX36" fmla="*/ 908963 w 1769954"/>
                <a:gd name="connsiteY36" fmla="*/ 151165 h 345708"/>
                <a:gd name="connsiteX37" fmla="*/ 962856 w 1769954"/>
                <a:gd name="connsiteY37" fmla="*/ 151165 h 345708"/>
                <a:gd name="connsiteX38" fmla="*/ 962856 w 1769954"/>
                <a:gd name="connsiteY38" fmla="*/ 93328 h 345708"/>
                <a:gd name="connsiteX39" fmla="*/ 908963 w 1769954"/>
                <a:gd name="connsiteY39" fmla="*/ 93328 h 345708"/>
                <a:gd name="connsiteX40" fmla="*/ 908963 w 1769954"/>
                <a:gd name="connsiteY40" fmla="*/ 0 h 345708"/>
                <a:gd name="connsiteX41" fmla="*/ 816292 w 1769954"/>
                <a:gd name="connsiteY41" fmla="*/ 120932 h 345708"/>
                <a:gd name="connsiteX42" fmla="*/ 815635 w 1769954"/>
                <a:gd name="connsiteY42" fmla="*/ 260924 h 345708"/>
                <a:gd name="connsiteX43" fmla="*/ 1097591 w 1769954"/>
                <a:gd name="connsiteY43" fmla="*/ 92671 h 345708"/>
                <a:gd name="connsiteX44" fmla="*/ 1006234 w 1769954"/>
                <a:gd name="connsiteY44" fmla="*/ 92671 h 345708"/>
                <a:gd name="connsiteX45" fmla="*/ 1006234 w 1769954"/>
                <a:gd name="connsiteY45" fmla="*/ 337821 h 345708"/>
                <a:gd name="connsiteX46" fmla="*/ 1098905 w 1769954"/>
                <a:gd name="connsiteY46" fmla="*/ 337821 h 345708"/>
                <a:gd name="connsiteX47" fmla="*/ 1098905 w 1769954"/>
                <a:gd name="connsiteY47" fmla="*/ 239235 h 345708"/>
                <a:gd name="connsiteX48" fmla="*/ 1162657 w 1769954"/>
                <a:gd name="connsiteY48" fmla="*/ 162995 h 345708"/>
                <a:gd name="connsiteX49" fmla="*/ 1182374 w 1769954"/>
                <a:gd name="connsiteY49" fmla="*/ 163653 h 345708"/>
                <a:gd name="connsiteX50" fmla="*/ 1182374 w 1769954"/>
                <a:gd name="connsiteY50" fmla="*/ 85441 h 345708"/>
                <a:gd name="connsiteX51" fmla="*/ 1100219 w 1769954"/>
                <a:gd name="connsiteY51" fmla="*/ 138678 h 345708"/>
                <a:gd name="connsiteX52" fmla="*/ 1099562 w 1769954"/>
                <a:gd name="connsiteY52" fmla="*/ 138678 h 345708"/>
                <a:gd name="connsiteX53" fmla="*/ 1097591 w 1769954"/>
                <a:gd name="connsiteY53" fmla="*/ 92671 h 345708"/>
                <a:gd name="connsiteX54" fmla="*/ 1338140 w 1769954"/>
                <a:gd name="connsiteY54" fmla="*/ 85441 h 345708"/>
                <a:gd name="connsiteX55" fmla="*/ 1195519 w 1769954"/>
                <a:gd name="connsiteY55" fmla="*/ 215575 h 345708"/>
                <a:gd name="connsiteX56" fmla="*/ 1338140 w 1769954"/>
                <a:gd name="connsiteY56" fmla="*/ 345708 h 345708"/>
                <a:gd name="connsiteX57" fmla="*/ 1480761 w 1769954"/>
                <a:gd name="connsiteY57" fmla="*/ 215575 h 345708"/>
                <a:gd name="connsiteX58" fmla="*/ 1338140 w 1769954"/>
                <a:gd name="connsiteY58" fmla="*/ 85441 h 345708"/>
                <a:gd name="connsiteX59" fmla="*/ 1290819 w 1769954"/>
                <a:gd name="connsiteY59" fmla="*/ 215575 h 345708"/>
                <a:gd name="connsiteX60" fmla="*/ 1338140 w 1769954"/>
                <a:gd name="connsiteY60" fmla="*/ 139335 h 345708"/>
                <a:gd name="connsiteX61" fmla="*/ 1385461 w 1769954"/>
                <a:gd name="connsiteY61" fmla="*/ 215575 h 345708"/>
                <a:gd name="connsiteX62" fmla="*/ 1338140 w 1769954"/>
                <a:gd name="connsiteY62" fmla="*/ 291814 h 345708"/>
                <a:gd name="connsiteX63" fmla="*/ 1290819 w 1769954"/>
                <a:gd name="connsiteY63" fmla="*/ 215575 h 345708"/>
                <a:gd name="connsiteX64" fmla="*/ 1678590 w 1769954"/>
                <a:gd name="connsiteY64" fmla="*/ 85441 h 345708"/>
                <a:gd name="connsiteX65" fmla="*/ 1601693 w 1769954"/>
                <a:gd name="connsiteY65" fmla="*/ 119618 h 345708"/>
                <a:gd name="connsiteX66" fmla="*/ 1600379 w 1769954"/>
                <a:gd name="connsiteY66" fmla="*/ 92671 h 345708"/>
                <a:gd name="connsiteX67" fmla="*/ 1509023 w 1769954"/>
                <a:gd name="connsiteY67" fmla="*/ 92671 h 345708"/>
                <a:gd name="connsiteX68" fmla="*/ 1509023 w 1769954"/>
                <a:gd name="connsiteY68" fmla="*/ 337821 h 345708"/>
                <a:gd name="connsiteX69" fmla="*/ 1601693 w 1769954"/>
                <a:gd name="connsiteY69" fmla="*/ 337821 h 345708"/>
                <a:gd name="connsiteX70" fmla="*/ 1601693 w 1769954"/>
                <a:gd name="connsiteY70" fmla="*/ 197829 h 345708"/>
                <a:gd name="connsiteX71" fmla="*/ 1641785 w 1769954"/>
                <a:gd name="connsiteY71" fmla="*/ 144593 h 345708"/>
                <a:gd name="connsiteX72" fmla="*/ 1677276 w 1769954"/>
                <a:gd name="connsiteY72" fmla="*/ 194543 h 345708"/>
                <a:gd name="connsiteX73" fmla="*/ 1677276 w 1769954"/>
                <a:gd name="connsiteY73" fmla="*/ 338478 h 345708"/>
                <a:gd name="connsiteX74" fmla="*/ 1769947 w 1769954"/>
                <a:gd name="connsiteY74" fmla="*/ 338478 h 345708"/>
                <a:gd name="connsiteX75" fmla="*/ 1769947 w 1769954"/>
                <a:gd name="connsiteY75" fmla="*/ 174169 h 345708"/>
                <a:gd name="connsiteX76" fmla="*/ 1678590 w 1769954"/>
                <a:gd name="connsiteY76" fmla="*/ 85441 h 34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69954" h="345708">
                  <a:moveTo>
                    <a:pt x="196515" y="92671"/>
                  </a:moveTo>
                  <a:lnTo>
                    <a:pt x="99243" y="217546"/>
                  </a:lnTo>
                  <a:lnTo>
                    <a:pt x="194543" y="338478"/>
                  </a:lnTo>
                  <a:lnTo>
                    <a:pt x="84784" y="338478"/>
                  </a:lnTo>
                  <a:lnTo>
                    <a:pt x="0" y="217546"/>
                  </a:lnTo>
                  <a:lnTo>
                    <a:pt x="95300" y="93328"/>
                  </a:lnTo>
                  <a:lnTo>
                    <a:pt x="196515" y="92671"/>
                  </a:lnTo>
                  <a:close/>
                  <a:moveTo>
                    <a:pt x="338478" y="85441"/>
                  </a:moveTo>
                  <a:cubicBezTo>
                    <a:pt x="261581" y="85441"/>
                    <a:pt x="195857" y="124876"/>
                    <a:pt x="195857" y="215575"/>
                  </a:cubicBezTo>
                  <a:cubicBezTo>
                    <a:pt x="195857" y="306274"/>
                    <a:pt x="261581" y="345708"/>
                    <a:pt x="338478" y="345708"/>
                  </a:cubicBezTo>
                  <a:cubicBezTo>
                    <a:pt x="415376" y="345708"/>
                    <a:pt x="481100" y="306274"/>
                    <a:pt x="481100" y="215575"/>
                  </a:cubicBezTo>
                  <a:cubicBezTo>
                    <a:pt x="481757" y="125533"/>
                    <a:pt x="415376" y="85441"/>
                    <a:pt x="338478" y="85441"/>
                  </a:cubicBezTo>
                  <a:close/>
                  <a:moveTo>
                    <a:pt x="291157" y="215575"/>
                  </a:moveTo>
                  <a:cubicBezTo>
                    <a:pt x="291157" y="180741"/>
                    <a:pt x="299701" y="139335"/>
                    <a:pt x="338478" y="139335"/>
                  </a:cubicBezTo>
                  <a:cubicBezTo>
                    <a:pt x="377256" y="139335"/>
                    <a:pt x="385800" y="180741"/>
                    <a:pt x="385800" y="215575"/>
                  </a:cubicBezTo>
                  <a:cubicBezTo>
                    <a:pt x="385800" y="250408"/>
                    <a:pt x="377256" y="291814"/>
                    <a:pt x="338478" y="291814"/>
                  </a:cubicBezTo>
                  <a:cubicBezTo>
                    <a:pt x="299701" y="291814"/>
                    <a:pt x="291157" y="250408"/>
                    <a:pt x="291157" y="215575"/>
                  </a:cubicBezTo>
                  <a:close/>
                  <a:moveTo>
                    <a:pt x="683529" y="85441"/>
                  </a:moveTo>
                  <a:cubicBezTo>
                    <a:pt x="651982" y="85441"/>
                    <a:pt x="627664" y="95300"/>
                    <a:pt x="606632" y="119618"/>
                  </a:cubicBezTo>
                  <a:lnTo>
                    <a:pt x="605318" y="92671"/>
                  </a:lnTo>
                  <a:lnTo>
                    <a:pt x="513962" y="92671"/>
                  </a:lnTo>
                  <a:lnTo>
                    <a:pt x="513962" y="337821"/>
                  </a:lnTo>
                  <a:lnTo>
                    <a:pt x="606632" y="337821"/>
                  </a:lnTo>
                  <a:lnTo>
                    <a:pt x="606632" y="197172"/>
                  </a:lnTo>
                  <a:cubicBezTo>
                    <a:pt x="606632" y="194543"/>
                    <a:pt x="600717" y="143935"/>
                    <a:pt x="646724" y="143935"/>
                  </a:cubicBezTo>
                  <a:cubicBezTo>
                    <a:pt x="675643" y="143935"/>
                    <a:pt x="681558" y="169568"/>
                    <a:pt x="682215" y="193886"/>
                  </a:cubicBezTo>
                  <a:lnTo>
                    <a:pt x="682215" y="337821"/>
                  </a:lnTo>
                  <a:lnTo>
                    <a:pt x="774886" y="337821"/>
                  </a:lnTo>
                  <a:lnTo>
                    <a:pt x="774886" y="173511"/>
                  </a:lnTo>
                  <a:cubicBezTo>
                    <a:pt x="774886" y="119618"/>
                    <a:pt x="736109" y="85441"/>
                    <a:pt x="683529" y="85441"/>
                  </a:cubicBezTo>
                  <a:close/>
                  <a:moveTo>
                    <a:pt x="815635" y="260924"/>
                  </a:moveTo>
                  <a:cubicBezTo>
                    <a:pt x="811034" y="336507"/>
                    <a:pt x="849154" y="345051"/>
                    <a:pt x="912249" y="345051"/>
                  </a:cubicBezTo>
                  <a:cubicBezTo>
                    <a:pt x="926051" y="345051"/>
                    <a:pt x="941167" y="344394"/>
                    <a:pt x="962199" y="340450"/>
                  </a:cubicBezTo>
                  <a:lnTo>
                    <a:pt x="962199" y="285242"/>
                  </a:lnTo>
                  <a:cubicBezTo>
                    <a:pt x="951683" y="286556"/>
                    <a:pt x="938538" y="286556"/>
                    <a:pt x="926708" y="286556"/>
                  </a:cubicBezTo>
                  <a:cubicBezTo>
                    <a:pt x="905019" y="286556"/>
                    <a:pt x="908963" y="255009"/>
                    <a:pt x="908963" y="248437"/>
                  </a:cubicBezTo>
                  <a:lnTo>
                    <a:pt x="908963" y="151165"/>
                  </a:lnTo>
                  <a:lnTo>
                    <a:pt x="962856" y="151165"/>
                  </a:lnTo>
                  <a:lnTo>
                    <a:pt x="962856" y="93328"/>
                  </a:lnTo>
                  <a:lnTo>
                    <a:pt x="908963" y="93328"/>
                  </a:lnTo>
                  <a:lnTo>
                    <a:pt x="908963" y="0"/>
                  </a:lnTo>
                  <a:lnTo>
                    <a:pt x="816292" y="120932"/>
                  </a:lnTo>
                  <a:lnTo>
                    <a:pt x="815635" y="260924"/>
                  </a:lnTo>
                  <a:close/>
                  <a:moveTo>
                    <a:pt x="1097591" y="92671"/>
                  </a:moveTo>
                  <a:lnTo>
                    <a:pt x="1006234" y="92671"/>
                  </a:lnTo>
                  <a:lnTo>
                    <a:pt x="1006234" y="337821"/>
                  </a:lnTo>
                  <a:lnTo>
                    <a:pt x="1098905" y="337821"/>
                  </a:lnTo>
                  <a:lnTo>
                    <a:pt x="1098905" y="239235"/>
                  </a:lnTo>
                  <a:cubicBezTo>
                    <a:pt x="1097591" y="192571"/>
                    <a:pt x="1114022" y="163653"/>
                    <a:pt x="1162657" y="162995"/>
                  </a:cubicBezTo>
                  <a:cubicBezTo>
                    <a:pt x="1169230" y="162995"/>
                    <a:pt x="1175145" y="162995"/>
                    <a:pt x="1182374" y="163653"/>
                  </a:cubicBezTo>
                  <a:lnTo>
                    <a:pt x="1182374" y="85441"/>
                  </a:lnTo>
                  <a:cubicBezTo>
                    <a:pt x="1141626" y="84784"/>
                    <a:pt x="1110735" y="97929"/>
                    <a:pt x="1100219" y="138678"/>
                  </a:cubicBezTo>
                  <a:lnTo>
                    <a:pt x="1099562" y="138678"/>
                  </a:lnTo>
                  <a:lnTo>
                    <a:pt x="1097591" y="92671"/>
                  </a:lnTo>
                  <a:close/>
                  <a:moveTo>
                    <a:pt x="1338140" y="85441"/>
                  </a:moveTo>
                  <a:cubicBezTo>
                    <a:pt x="1261243" y="85441"/>
                    <a:pt x="1195519" y="124876"/>
                    <a:pt x="1195519" y="215575"/>
                  </a:cubicBezTo>
                  <a:cubicBezTo>
                    <a:pt x="1195519" y="306274"/>
                    <a:pt x="1261243" y="345708"/>
                    <a:pt x="1338140" y="345708"/>
                  </a:cubicBezTo>
                  <a:cubicBezTo>
                    <a:pt x="1415037" y="345708"/>
                    <a:pt x="1480761" y="306274"/>
                    <a:pt x="1480761" y="215575"/>
                  </a:cubicBezTo>
                  <a:cubicBezTo>
                    <a:pt x="1480761" y="124876"/>
                    <a:pt x="1414380" y="85441"/>
                    <a:pt x="1338140" y="85441"/>
                  </a:cubicBezTo>
                  <a:close/>
                  <a:moveTo>
                    <a:pt x="1290819" y="215575"/>
                  </a:moveTo>
                  <a:cubicBezTo>
                    <a:pt x="1290819" y="180741"/>
                    <a:pt x="1299363" y="139335"/>
                    <a:pt x="1338140" y="139335"/>
                  </a:cubicBezTo>
                  <a:cubicBezTo>
                    <a:pt x="1376917" y="139335"/>
                    <a:pt x="1385461" y="180741"/>
                    <a:pt x="1385461" y="215575"/>
                  </a:cubicBezTo>
                  <a:cubicBezTo>
                    <a:pt x="1385461" y="250408"/>
                    <a:pt x="1376917" y="291814"/>
                    <a:pt x="1338140" y="291814"/>
                  </a:cubicBezTo>
                  <a:cubicBezTo>
                    <a:pt x="1298706" y="291814"/>
                    <a:pt x="1290819" y="250408"/>
                    <a:pt x="1290819" y="215575"/>
                  </a:cubicBezTo>
                  <a:close/>
                  <a:moveTo>
                    <a:pt x="1678590" y="85441"/>
                  </a:moveTo>
                  <a:cubicBezTo>
                    <a:pt x="1647043" y="85441"/>
                    <a:pt x="1622725" y="95300"/>
                    <a:pt x="1601693" y="119618"/>
                  </a:cubicBezTo>
                  <a:lnTo>
                    <a:pt x="1600379" y="92671"/>
                  </a:lnTo>
                  <a:lnTo>
                    <a:pt x="1509023" y="92671"/>
                  </a:lnTo>
                  <a:lnTo>
                    <a:pt x="1509023" y="337821"/>
                  </a:lnTo>
                  <a:lnTo>
                    <a:pt x="1601693" y="337821"/>
                  </a:lnTo>
                  <a:lnTo>
                    <a:pt x="1601693" y="197829"/>
                  </a:lnTo>
                  <a:cubicBezTo>
                    <a:pt x="1601693" y="195200"/>
                    <a:pt x="1595778" y="144593"/>
                    <a:pt x="1641785" y="144593"/>
                  </a:cubicBezTo>
                  <a:cubicBezTo>
                    <a:pt x="1670704" y="144593"/>
                    <a:pt x="1676619" y="170225"/>
                    <a:pt x="1677276" y="194543"/>
                  </a:cubicBezTo>
                  <a:lnTo>
                    <a:pt x="1677276" y="338478"/>
                  </a:lnTo>
                  <a:lnTo>
                    <a:pt x="1769947" y="338478"/>
                  </a:lnTo>
                  <a:lnTo>
                    <a:pt x="1769947" y="174169"/>
                  </a:lnTo>
                  <a:cubicBezTo>
                    <a:pt x="1770604" y="119618"/>
                    <a:pt x="1731170" y="85441"/>
                    <a:pt x="1678590" y="85441"/>
                  </a:cubicBezTo>
                  <a:close/>
                </a:path>
              </a:pathLst>
            </a:custGeom>
            <a:grpFill/>
            <a:ln w="6540"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23820757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ntent gradient/arrow">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269654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Freihandform: Form 18">
            <a:extLst>
              <a:ext uri="{FF2B5EF4-FFF2-40B4-BE49-F238E27FC236}">
                <a16:creationId xmlns:a16="http://schemas.microsoft.com/office/drawing/2014/main" id="{05FE5497-C7E5-75BB-64B1-57AAF06134BB}"/>
              </a:ext>
            </a:extLst>
          </p:cNvPr>
          <p:cNvSpPr/>
          <p:nvPr userDrawn="1"/>
        </p:nvSpPr>
        <p:spPr>
          <a:xfrm flipH="1">
            <a:off x="1754125" y="0"/>
            <a:ext cx="7876733" cy="6858000"/>
          </a:xfrm>
          <a:custGeom>
            <a:avLst/>
            <a:gdLst>
              <a:gd name="connsiteX0" fmla="*/ 7876733 w 7876733"/>
              <a:gd name="connsiteY0" fmla="*/ 0 h 6858000"/>
              <a:gd name="connsiteX1" fmla="*/ 3352132 w 7876733"/>
              <a:gd name="connsiteY1" fmla="*/ 0 h 6858000"/>
              <a:gd name="connsiteX2" fmla="*/ 0 w 7876733"/>
              <a:gd name="connsiteY2" fmla="*/ 4461366 h 6858000"/>
              <a:gd name="connsiteX3" fmla="*/ 1645601 w 7876733"/>
              <a:gd name="connsiteY3" fmla="*/ 6858000 h 6858000"/>
              <a:gd name="connsiteX4" fmla="*/ 6322952 w 7876733"/>
              <a:gd name="connsiteY4" fmla="*/ 6858000 h 6858000"/>
              <a:gd name="connsiteX5" fmla="*/ 4473258 w 7876733"/>
              <a:gd name="connsiteY5" fmla="*/ 44613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6733" h="6858000">
                <a:moveTo>
                  <a:pt x="7876733" y="0"/>
                </a:moveTo>
                <a:lnTo>
                  <a:pt x="3352132" y="0"/>
                </a:lnTo>
                <a:lnTo>
                  <a:pt x="0" y="4461366"/>
                </a:lnTo>
                <a:lnTo>
                  <a:pt x="1645601" y="6858000"/>
                </a:lnTo>
                <a:lnTo>
                  <a:pt x="6322952" y="6858000"/>
                </a:lnTo>
                <a:lnTo>
                  <a:pt x="4473258" y="4461366"/>
                </a:lnTo>
                <a:close/>
              </a:path>
            </a:pathLst>
          </a:custGeom>
          <a:solidFill>
            <a:schemeClr val="bg2">
              <a:alpha val="45000"/>
            </a:schemeClr>
          </a:solidFill>
          <a:ln w="6540" cap="flat">
            <a:noFill/>
            <a:prstDash val="solid"/>
            <a:miter/>
          </a:ln>
        </p:spPr>
        <p:txBody>
          <a:bodyPr wrap="square" rtlCol="0" anchor="ctr">
            <a:noAutofit/>
          </a:bodyPr>
          <a:lstStyle/>
          <a:p>
            <a:pPr lvl="0"/>
            <a:endParaRPr lang="en-GB" dirty="0"/>
          </a:p>
        </p:txBody>
      </p:sp>
      <p:sp>
        <p:nvSpPr>
          <p:cNvPr id="14" name="Freihandform: Form 13">
            <a:extLst>
              <a:ext uri="{FF2B5EF4-FFF2-40B4-BE49-F238E27FC236}">
                <a16:creationId xmlns:a16="http://schemas.microsoft.com/office/drawing/2014/main" id="{55F5D3BA-7765-4777-5C46-26EFE8E737BD}"/>
              </a:ext>
            </a:extLst>
          </p:cNvPr>
          <p:cNvSpPr>
            <a:spLocks/>
          </p:cNvSpPr>
          <p:nvPr userDrawn="1"/>
        </p:nvSpPr>
        <p:spPr>
          <a:xfrm>
            <a:off x="1" y="6449104"/>
            <a:ext cx="11221821" cy="408897"/>
          </a:xfrm>
          <a:custGeom>
            <a:avLst/>
            <a:gdLst>
              <a:gd name="connsiteX0" fmla="*/ 0 w 11221821"/>
              <a:gd name="connsiteY0" fmla="*/ 0 h 408897"/>
              <a:gd name="connsiteX1" fmla="*/ 2901161 w 11221821"/>
              <a:gd name="connsiteY1" fmla="*/ 0 h 408897"/>
              <a:gd name="connsiteX2" fmla="*/ 7380716 w 11221821"/>
              <a:gd name="connsiteY2" fmla="*/ 0 h 408897"/>
              <a:gd name="connsiteX3" fmla="*/ 10922202 w 11221821"/>
              <a:gd name="connsiteY3" fmla="*/ 0 h 408897"/>
              <a:gd name="connsiteX4" fmla="*/ 11221821 w 11221821"/>
              <a:gd name="connsiteY4" fmla="*/ 408897 h 408897"/>
              <a:gd name="connsiteX5" fmla="*/ 0 w 11221821"/>
              <a:gd name="connsiteY5" fmla="*/ 408897 h 40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1821" h="408897">
                <a:moveTo>
                  <a:pt x="0" y="0"/>
                </a:moveTo>
                <a:lnTo>
                  <a:pt x="2901161" y="0"/>
                </a:lnTo>
                <a:lnTo>
                  <a:pt x="7380716" y="0"/>
                </a:lnTo>
                <a:lnTo>
                  <a:pt x="10922202" y="0"/>
                </a:lnTo>
                <a:lnTo>
                  <a:pt x="11221821" y="408897"/>
                </a:lnTo>
                <a:lnTo>
                  <a:pt x="0" y="408897"/>
                </a:lnTo>
                <a:close/>
              </a:path>
            </a:pathLst>
          </a:custGeom>
          <a:gradFill>
            <a:gsLst>
              <a:gs pos="45000">
                <a:schemeClr val="accent1"/>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el 1">
            <a:extLst>
              <a:ext uri="{FF2B5EF4-FFF2-40B4-BE49-F238E27FC236}">
                <a16:creationId xmlns:a16="http://schemas.microsoft.com/office/drawing/2014/main" id="{CDA4FE97-9D3F-4806-826F-04FA53127EE8}"/>
              </a:ext>
            </a:extLst>
          </p:cNvPr>
          <p:cNvSpPr>
            <a:spLocks noGrp="1"/>
          </p:cNvSpPr>
          <p:nvPr>
            <p:ph type="title" hasCustomPrompt="1"/>
          </p:nvPr>
        </p:nvSpPr>
        <p:spPr/>
        <p:txBody>
          <a:bodyPr vert="horz"/>
          <a:lstStyle/>
          <a:p>
            <a:r>
              <a:rPr lang="de-DE" dirty="0"/>
              <a:t>Title, Calibri </a:t>
            </a:r>
            <a:r>
              <a:rPr lang="de-DE" dirty="0" err="1"/>
              <a:t>Bold</a:t>
            </a:r>
            <a:r>
              <a:rPr lang="de-DE" dirty="0"/>
              <a:t>, 32pt</a:t>
            </a:r>
            <a:endParaRPr lang="en-US" dirty="0"/>
          </a:p>
        </p:txBody>
      </p:sp>
      <p:sp>
        <p:nvSpPr>
          <p:cNvPr id="3" name="Inhaltsplatzhalter 2">
            <a:extLst>
              <a:ext uri="{FF2B5EF4-FFF2-40B4-BE49-F238E27FC236}">
                <a16:creationId xmlns:a16="http://schemas.microsoft.com/office/drawing/2014/main" id="{8F6218BB-9612-46C6-A52F-A0032EAFB803}"/>
              </a:ext>
            </a:extLst>
          </p:cNvPr>
          <p:cNvSpPr>
            <a:spLocks noGrp="1"/>
          </p:cNvSpPr>
          <p:nvPr>
            <p:ph idx="1" hasCustomPrompt="1"/>
          </p:nvPr>
        </p:nvSpPr>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5" name="Fußzeilenplatzhalter 4">
            <a:extLst>
              <a:ext uri="{FF2B5EF4-FFF2-40B4-BE49-F238E27FC236}">
                <a16:creationId xmlns:a16="http://schemas.microsoft.com/office/drawing/2014/main" id="{8D6D93A5-EB18-42A3-92C9-BCCDDB54CB05}"/>
              </a:ext>
            </a:extLst>
          </p:cNvPr>
          <p:cNvSpPr>
            <a:spLocks noGrp="1"/>
          </p:cNvSpPr>
          <p:nvPr>
            <p:ph type="ftr" sz="quarter" idx="11"/>
          </p:nvPr>
        </p:nvSpPr>
        <p:spPr/>
        <p:txBody>
          <a:bodyPr/>
          <a:lstStyle>
            <a:lvl1pPr>
              <a:defRPr>
                <a:solidFill>
                  <a:schemeClr val="bg1"/>
                </a:solidFill>
              </a:defRPr>
            </a:lvl1pPr>
          </a:lstStyle>
          <a:p>
            <a:r>
              <a:rPr lang="en-US" dirty="0"/>
              <a:t>Footer</a:t>
            </a:r>
          </a:p>
        </p:txBody>
      </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8" name="Textplatzhalter 7">
            <a:extLst>
              <a:ext uri="{FF2B5EF4-FFF2-40B4-BE49-F238E27FC236}">
                <a16:creationId xmlns:a16="http://schemas.microsoft.com/office/drawing/2014/main" id="{42F3C34B-24E5-47A4-6876-9BC98D1537C5}"/>
              </a:ext>
            </a:extLst>
          </p:cNvPr>
          <p:cNvSpPr>
            <a:spLocks noGrp="1"/>
          </p:cNvSpPr>
          <p:nvPr>
            <p:ph type="body" sz="quarter" idx="13" hasCustomPrompt="1"/>
          </p:nvPr>
        </p:nvSpPr>
        <p:spPr>
          <a:xfrm>
            <a:off x="695325" y="815466"/>
            <a:ext cx="8707438" cy="350838"/>
          </a:xfrm>
        </p:spPr>
        <p:txBody>
          <a:bodyPr>
            <a:noAutofit/>
          </a:bodyPr>
          <a:lstStyle>
            <a:lvl1pPr marL="0" indent="0">
              <a:buNone/>
              <a:defRPr sz="2400">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Tree>
    <p:extLst>
      <p:ext uri="{BB962C8B-B14F-4D97-AF65-F5344CB8AC3E}">
        <p14:creationId xmlns:p14="http://schemas.microsoft.com/office/powerpoint/2010/main" val="24775703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content gradient">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984653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Freihandform: Form 13">
            <a:extLst>
              <a:ext uri="{FF2B5EF4-FFF2-40B4-BE49-F238E27FC236}">
                <a16:creationId xmlns:a16="http://schemas.microsoft.com/office/drawing/2014/main" id="{55F5D3BA-7765-4777-5C46-26EFE8E737BD}"/>
              </a:ext>
            </a:extLst>
          </p:cNvPr>
          <p:cNvSpPr>
            <a:spLocks/>
          </p:cNvSpPr>
          <p:nvPr userDrawn="1"/>
        </p:nvSpPr>
        <p:spPr>
          <a:xfrm>
            <a:off x="1" y="6449104"/>
            <a:ext cx="11221821" cy="408897"/>
          </a:xfrm>
          <a:custGeom>
            <a:avLst/>
            <a:gdLst>
              <a:gd name="connsiteX0" fmla="*/ 0 w 11221821"/>
              <a:gd name="connsiteY0" fmla="*/ 0 h 408897"/>
              <a:gd name="connsiteX1" fmla="*/ 2901161 w 11221821"/>
              <a:gd name="connsiteY1" fmla="*/ 0 h 408897"/>
              <a:gd name="connsiteX2" fmla="*/ 7380716 w 11221821"/>
              <a:gd name="connsiteY2" fmla="*/ 0 h 408897"/>
              <a:gd name="connsiteX3" fmla="*/ 10922202 w 11221821"/>
              <a:gd name="connsiteY3" fmla="*/ 0 h 408897"/>
              <a:gd name="connsiteX4" fmla="*/ 11221821 w 11221821"/>
              <a:gd name="connsiteY4" fmla="*/ 408897 h 408897"/>
              <a:gd name="connsiteX5" fmla="*/ 0 w 11221821"/>
              <a:gd name="connsiteY5" fmla="*/ 408897 h 40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1821" h="408897">
                <a:moveTo>
                  <a:pt x="0" y="0"/>
                </a:moveTo>
                <a:lnTo>
                  <a:pt x="2901161" y="0"/>
                </a:lnTo>
                <a:lnTo>
                  <a:pt x="7380716" y="0"/>
                </a:lnTo>
                <a:lnTo>
                  <a:pt x="10922202" y="0"/>
                </a:lnTo>
                <a:lnTo>
                  <a:pt x="11221821" y="408897"/>
                </a:lnTo>
                <a:lnTo>
                  <a:pt x="0" y="408897"/>
                </a:lnTo>
                <a:close/>
              </a:path>
            </a:pathLst>
          </a:custGeom>
          <a:gradFill>
            <a:gsLst>
              <a:gs pos="45000">
                <a:schemeClr val="accent1"/>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el 1">
            <a:extLst>
              <a:ext uri="{FF2B5EF4-FFF2-40B4-BE49-F238E27FC236}">
                <a16:creationId xmlns:a16="http://schemas.microsoft.com/office/drawing/2014/main" id="{CDA4FE97-9D3F-4806-826F-04FA53127EE8}"/>
              </a:ext>
            </a:extLst>
          </p:cNvPr>
          <p:cNvSpPr>
            <a:spLocks noGrp="1"/>
          </p:cNvSpPr>
          <p:nvPr>
            <p:ph type="title" hasCustomPrompt="1"/>
          </p:nvPr>
        </p:nvSpPr>
        <p:spPr/>
        <p:txBody>
          <a:bodyPr vert="horz"/>
          <a:lstStyle/>
          <a:p>
            <a:r>
              <a:rPr lang="de-DE" dirty="0"/>
              <a:t>Title, Calibri </a:t>
            </a:r>
            <a:r>
              <a:rPr lang="de-DE" dirty="0" err="1"/>
              <a:t>Bold</a:t>
            </a:r>
            <a:r>
              <a:rPr lang="de-DE" dirty="0"/>
              <a:t>, 32pt</a:t>
            </a:r>
            <a:endParaRPr lang="en-US" dirty="0"/>
          </a:p>
        </p:txBody>
      </p:sp>
      <p:sp>
        <p:nvSpPr>
          <p:cNvPr id="3" name="Inhaltsplatzhalter 2">
            <a:extLst>
              <a:ext uri="{FF2B5EF4-FFF2-40B4-BE49-F238E27FC236}">
                <a16:creationId xmlns:a16="http://schemas.microsoft.com/office/drawing/2014/main" id="{8F6218BB-9612-46C6-A52F-A0032EAFB803}"/>
              </a:ext>
            </a:extLst>
          </p:cNvPr>
          <p:cNvSpPr>
            <a:spLocks noGrp="1"/>
          </p:cNvSpPr>
          <p:nvPr>
            <p:ph idx="1" hasCustomPrompt="1"/>
          </p:nvPr>
        </p:nvSpPr>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5" name="Fußzeilenplatzhalter 4">
            <a:extLst>
              <a:ext uri="{FF2B5EF4-FFF2-40B4-BE49-F238E27FC236}">
                <a16:creationId xmlns:a16="http://schemas.microsoft.com/office/drawing/2014/main" id="{8D6D93A5-EB18-42A3-92C9-BCCDDB54CB05}"/>
              </a:ext>
            </a:extLst>
          </p:cNvPr>
          <p:cNvSpPr>
            <a:spLocks noGrp="1"/>
          </p:cNvSpPr>
          <p:nvPr>
            <p:ph type="ftr" sz="quarter" idx="11"/>
          </p:nvPr>
        </p:nvSpPr>
        <p:spPr/>
        <p:txBody>
          <a:bodyPr/>
          <a:lstStyle>
            <a:lvl1pPr>
              <a:defRPr>
                <a:solidFill>
                  <a:schemeClr val="bg1"/>
                </a:solidFill>
              </a:defRPr>
            </a:lvl1pPr>
          </a:lstStyle>
          <a:p>
            <a:r>
              <a:rPr lang="en-US" dirty="0"/>
              <a:t>Footer</a:t>
            </a:r>
          </a:p>
        </p:txBody>
      </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8" name="Textplatzhalter 7">
            <a:extLst>
              <a:ext uri="{FF2B5EF4-FFF2-40B4-BE49-F238E27FC236}">
                <a16:creationId xmlns:a16="http://schemas.microsoft.com/office/drawing/2014/main" id="{42F3C34B-24E5-47A4-6876-9BC98D1537C5}"/>
              </a:ext>
            </a:extLst>
          </p:cNvPr>
          <p:cNvSpPr>
            <a:spLocks noGrp="1"/>
          </p:cNvSpPr>
          <p:nvPr>
            <p:ph type="body" sz="quarter" idx="13" hasCustomPrompt="1"/>
          </p:nvPr>
        </p:nvSpPr>
        <p:spPr>
          <a:xfrm>
            <a:off x="695325" y="815466"/>
            <a:ext cx="8707438" cy="350838"/>
          </a:xfrm>
        </p:spPr>
        <p:txBody>
          <a:bodyPr>
            <a:noAutofit/>
          </a:bodyPr>
          <a:lstStyle>
            <a:lvl1pPr marL="0" indent="0">
              <a:buNone/>
              <a:defRPr sz="2400">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Tree>
    <p:extLst>
      <p:ext uri="{BB962C8B-B14F-4D97-AF65-F5344CB8AC3E}">
        <p14:creationId xmlns:p14="http://schemas.microsoft.com/office/powerpoint/2010/main" val="10051553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content arrow">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895994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Freihandform: Form 18">
            <a:extLst>
              <a:ext uri="{FF2B5EF4-FFF2-40B4-BE49-F238E27FC236}">
                <a16:creationId xmlns:a16="http://schemas.microsoft.com/office/drawing/2014/main" id="{05FE5497-C7E5-75BB-64B1-57AAF06134BB}"/>
              </a:ext>
            </a:extLst>
          </p:cNvPr>
          <p:cNvSpPr/>
          <p:nvPr userDrawn="1"/>
        </p:nvSpPr>
        <p:spPr>
          <a:xfrm flipH="1">
            <a:off x="1754125" y="0"/>
            <a:ext cx="7876733" cy="6858000"/>
          </a:xfrm>
          <a:custGeom>
            <a:avLst/>
            <a:gdLst>
              <a:gd name="connsiteX0" fmla="*/ 7876733 w 7876733"/>
              <a:gd name="connsiteY0" fmla="*/ 0 h 6858000"/>
              <a:gd name="connsiteX1" fmla="*/ 3352132 w 7876733"/>
              <a:gd name="connsiteY1" fmla="*/ 0 h 6858000"/>
              <a:gd name="connsiteX2" fmla="*/ 0 w 7876733"/>
              <a:gd name="connsiteY2" fmla="*/ 4461366 h 6858000"/>
              <a:gd name="connsiteX3" fmla="*/ 1645601 w 7876733"/>
              <a:gd name="connsiteY3" fmla="*/ 6858000 h 6858000"/>
              <a:gd name="connsiteX4" fmla="*/ 6322952 w 7876733"/>
              <a:gd name="connsiteY4" fmla="*/ 6858000 h 6858000"/>
              <a:gd name="connsiteX5" fmla="*/ 4473258 w 7876733"/>
              <a:gd name="connsiteY5" fmla="*/ 44613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6733" h="6858000">
                <a:moveTo>
                  <a:pt x="7876733" y="0"/>
                </a:moveTo>
                <a:lnTo>
                  <a:pt x="3352132" y="0"/>
                </a:lnTo>
                <a:lnTo>
                  <a:pt x="0" y="4461366"/>
                </a:lnTo>
                <a:lnTo>
                  <a:pt x="1645601" y="6858000"/>
                </a:lnTo>
                <a:lnTo>
                  <a:pt x="6322952" y="6858000"/>
                </a:lnTo>
                <a:lnTo>
                  <a:pt x="4473258" y="4461366"/>
                </a:lnTo>
                <a:close/>
              </a:path>
            </a:pathLst>
          </a:custGeom>
          <a:solidFill>
            <a:schemeClr val="bg2">
              <a:alpha val="45000"/>
            </a:schemeClr>
          </a:solidFill>
          <a:ln w="6540" cap="flat">
            <a:noFill/>
            <a:prstDash val="solid"/>
            <a:miter/>
          </a:ln>
        </p:spPr>
        <p:txBody>
          <a:bodyPr wrap="square" rtlCol="0" anchor="ctr">
            <a:noAutofit/>
          </a:bodyPr>
          <a:lstStyle/>
          <a:p>
            <a:pPr lvl="0"/>
            <a:endParaRPr lang="en-GB" dirty="0"/>
          </a:p>
        </p:txBody>
      </p:sp>
      <p:sp>
        <p:nvSpPr>
          <p:cNvPr id="2" name="Titel 1">
            <a:extLst>
              <a:ext uri="{FF2B5EF4-FFF2-40B4-BE49-F238E27FC236}">
                <a16:creationId xmlns:a16="http://schemas.microsoft.com/office/drawing/2014/main" id="{CDA4FE97-9D3F-4806-826F-04FA53127EE8}"/>
              </a:ext>
            </a:extLst>
          </p:cNvPr>
          <p:cNvSpPr>
            <a:spLocks noGrp="1"/>
          </p:cNvSpPr>
          <p:nvPr>
            <p:ph type="title" hasCustomPrompt="1"/>
          </p:nvPr>
        </p:nvSpPr>
        <p:spPr/>
        <p:txBody>
          <a:bodyPr vert="horz"/>
          <a:lstStyle/>
          <a:p>
            <a:r>
              <a:rPr lang="de-DE" dirty="0"/>
              <a:t>Title, Calibri </a:t>
            </a:r>
            <a:r>
              <a:rPr lang="de-DE" dirty="0" err="1"/>
              <a:t>Bold</a:t>
            </a:r>
            <a:r>
              <a:rPr lang="de-DE" dirty="0"/>
              <a:t>, 32pt</a:t>
            </a:r>
            <a:endParaRPr lang="en-US" dirty="0"/>
          </a:p>
        </p:txBody>
      </p:sp>
      <p:sp>
        <p:nvSpPr>
          <p:cNvPr id="3" name="Inhaltsplatzhalter 2">
            <a:extLst>
              <a:ext uri="{FF2B5EF4-FFF2-40B4-BE49-F238E27FC236}">
                <a16:creationId xmlns:a16="http://schemas.microsoft.com/office/drawing/2014/main" id="{8F6218BB-9612-46C6-A52F-A0032EAFB803}"/>
              </a:ext>
            </a:extLst>
          </p:cNvPr>
          <p:cNvSpPr>
            <a:spLocks noGrp="1"/>
          </p:cNvSpPr>
          <p:nvPr>
            <p:ph idx="1" hasCustomPrompt="1"/>
          </p:nvPr>
        </p:nvSpPr>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8" name="Textplatzhalter 7">
            <a:extLst>
              <a:ext uri="{FF2B5EF4-FFF2-40B4-BE49-F238E27FC236}">
                <a16:creationId xmlns:a16="http://schemas.microsoft.com/office/drawing/2014/main" id="{42F3C34B-24E5-47A4-6876-9BC98D1537C5}"/>
              </a:ext>
            </a:extLst>
          </p:cNvPr>
          <p:cNvSpPr>
            <a:spLocks noGrp="1"/>
          </p:cNvSpPr>
          <p:nvPr>
            <p:ph type="body" sz="quarter" idx="13" hasCustomPrompt="1"/>
          </p:nvPr>
        </p:nvSpPr>
        <p:spPr>
          <a:xfrm>
            <a:off x="695325" y="815466"/>
            <a:ext cx="8707438" cy="350838"/>
          </a:xfrm>
        </p:spPr>
        <p:txBody>
          <a:bodyPr>
            <a:noAutofit/>
          </a:bodyPr>
          <a:lstStyle>
            <a:lvl1pPr marL="0" indent="0">
              <a:buNone/>
              <a:defRPr sz="2400">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
        <p:nvSpPr>
          <p:cNvPr id="4" name="Fußzeilenplatzhalter 3">
            <a:extLst>
              <a:ext uri="{FF2B5EF4-FFF2-40B4-BE49-F238E27FC236}">
                <a16:creationId xmlns:a16="http://schemas.microsoft.com/office/drawing/2014/main" id="{258B1367-1447-0FE4-15FB-12D8770C72B7}"/>
              </a:ext>
            </a:extLst>
          </p:cNvPr>
          <p:cNvSpPr>
            <a:spLocks noGrp="1"/>
          </p:cNvSpPr>
          <p:nvPr>
            <p:ph type="ftr" sz="quarter" idx="14"/>
          </p:nvPr>
        </p:nvSpPr>
        <p:spPr/>
        <p:txBody>
          <a:bodyPr/>
          <a:lstStyle/>
          <a:p>
            <a:r>
              <a:rPr lang="en-US"/>
              <a:t>Footer</a:t>
            </a:r>
            <a:endParaRPr lang="en-US" dirty="0"/>
          </a:p>
        </p:txBody>
      </p:sp>
    </p:spTree>
    <p:extLst>
      <p:ext uri="{BB962C8B-B14F-4D97-AF65-F5344CB8AC3E}">
        <p14:creationId xmlns:p14="http://schemas.microsoft.com/office/powerpoint/2010/main" val="9447741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2 contents gradient/arrow">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2449359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Freihandform: Form 18">
            <a:extLst>
              <a:ext uri="{FF2B5EF4-FFF2-40B4-BE49-F238E27FC236}">
                <a16:creationId xmlns:a16="http://schemas.microsoft.com/office/drawing/2014/main" id="{05FE5497-C7E5-75BB-64B1-57AAF06134BB}"/>
              </a:ext>
            </a:extLst>
          </p:cNvPr>
          <p:cNvSpPr/>
          <p:nvPr userDrawn="1"/>
        </p:nvSpPr>
        <p:spPr>
          <a:xfrm flipH="1">
            <a:off x="1754125" y="0"/>
            <a:ext cx="7876733" cy="6858000"/>
          </a:xfrm>
          <a:custGeom>
            <a:avLst/>
            <a:gdLst>
              <a:gd name="connsiteX0" fmla="*/ 7876733 w 7876733"/>
              <a:gd name="connsiteY0" fmla="*/ 0 h 6858000"/>
              <a:gd name="connsiteX1" fmla="*/ 3352132 w 7876733"/>
              <a:gd name="connsiteY1" fmla="*/ 0 h 6858000"/>
              <a:gd name="connsiteX2" fmla="*/ 0 w 7876733"/>
              <a:gd name="connsiteY2" fmla="*/ 4461366 h 6858000"/>
              <a:gd name="connsiteX3" fmla="*/ 1645601 w 7876733"/>
              <a:gd name="connsiteY3" fmla="*/ 6858000 h 6858000"/>
              <a:gd name="connsiteX4" fmla="*/ 6322952 w 7876733"/>
              <a:gd name="connsiteY4" fmla="*/ 6858000 h 6858000"/>
              <a:gd name="connsiteX5" fmla="*/ 4473258 w 7876733"/>
              <a:gd name="connsiteY5" fmla="*/ 446136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6733" h="6858000">
                <a:moveTo>
                  <a:pt x="7876733" y="0"/>
                </a:moveTo>
                <a:lnTo>
                  <a:pt x="3352132" y="0"/>
                </a:lnTo>
                <a:lnTo>
                  <a:pt x="0" y="4461366"/>
                </a:lnTo>
                <a:lnTo>
                  <a:pt x="1645601" y="6858000"/>
                </a:lnTo>
                <a:lnTo>
                  <a:pt x="6322952" y="6858000"/>
                </a:lnTo>
                <a:lnTo>
                  <a:pt x="4473258" y="4461366"/>
                </a:lnTo>
                <a:close/>
              </a:path>
            </a:pathLst>
          </a:custGeom>
          <a:solidFill>
            <a:schemeClr val="bg2">
              <a:alpha val="45000"/>
            </a:schemeClr>
          </a:solidFill>
          <a:ln w="6540" cap="flat">
            <a:noFill/>
            <a:prstDash val="solid"/>
            <a:miter/>
          </a:ln>
        </p:spPr>
        <p:txBody>
          <a:bodyPr wrap="square" rtlCol="0" anchor="ctr">
            <a:noAutofit/>
          </a:bodyPr>
          <a:lstStyle/>
          <a:p>
            <a:pPr lvl="0"/>
            <a:endParaRPr lang="en-GB" dirty="0"/>
          </a:p>
        </p:txBody>
      </p:sp>
      <p:sp>
        <p:nvSpPr>
          <p:cNvPr id="14" name="Freihandform: Form 13">
            <a:extLst>
              <a:ext uri="{FF2B5EF4-FFF2-40B4-BE49-F238E27FC236}">
                <a16:creationId xmlns:a16="http://schemas.microsoft.com/office/drawing/2014/main" id="{55F5D3BA-7765-4777-5C46-26EFE8E737BD}"/>
              </a:ext>
            </a:extLst>
          </p:cNvPr>
          <p:cNvSpPr>
            <a:spLocks/>
          </p:cNvSpPr>
          <p:nvPr userDrawn="1"/>
        </p:nvSpPr>
        <p:spPr>
          <a:xfrm>
            <a:off x="1" y="6449104"/>
            <a:ext cx="11221821" cy="408897"/>
          </a:xfrm>
          <a:custGeom>
            <a:avLst/>
            <a:gdLst>
              <a:gd name="connsiteX0" fmla="*/ 0 w 11221821"/>
              <a:gd name="connsiteY0" fmla="*/ 0 h 408897"/>
              <a:gd name="connsiteX1" fmla="*/ 2901161 w 11221821"/>
              <a:gd name="connsiteY1" fmla="*/ 0 h 408897"/>
              <a:gd name="connsiteX2" fmla="*/ 7380716 w 11221821"/>
              <a:gd name="connsiteY2" fmla="*/ 0 h 408897"/>
              <a:gd name="connsiteX3" fmla="*/ 10922202 w 11221821"/>
              <a:gd name="connsiteY3" fmla="*/ 0 h 408897"/>
              <a:gd name="connsiteX4" fmla="*/ 11221821 w 11221821"/>
              <a:gd name="connsiteY4" fmla="*/ 408897 h 408897"/>
              <a:gd name="connsiteX5" fmla="*/ 0 w 11221821"/>
              <a:gd name="connsiteY5" fmla="*/ 408897 h 40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1821" h="408897">
                <a:moveTo>
                  <a:pt x="0" y="0"/>
                </a:moveTo>
                <a:lnTo>
                  <a:pt x="2901161" y="0"/>
                </a:lnTo>
                <a:lnTo>
                  <a:pt x="7380716" y="0"/>
                </a:lnTo>
                <a:lnTo>
                  <a:pt x="10922202" y="0"/>
                </a:lnTo>
                <a:lnTo>
                  <a:pt x="11221821" y="408897"/>
                </a:lnTo>
                <a:lnTo>
                  <a:pt x="0" y="408897"/>
                </a:lnTo>
                <a:close/>
              </a:path>
            </a:pathLst>
          </a:custGeom>
          <a:gradFill>
            <a:gsLst>
              <a:gs pos="45000">
                <a:schemeClr val="accent1"/>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el 1">
            <a:extLst>
              <a:ext uri="{FF2B5EF4-FFF2-40B4-BE49-F238E27FC236}">
                <a16:creationId xmlns:a16="http://schemas.microsoft.com/office/drawing/2014/main" id="{CDA4FE97-9D3F-4806-826F-04FA53127EE8}"/>
              </a:ext>
            </a:extLst>
          </p:cNvPr>
          <p:cNvSpPr>
            <a:spLocks noGrp="1"/>
          </p:cNvSpPr>
          <p:nvPr>
            <p:ph type="title" hasCustomPrompt="1"/>
          </p:nvPr>
        </p:nvSpPr>
        <p:spPr/>
        <p:txBody>
          <a:bodyPr vert="horz"/>
          <a:lstStyle/>
          <a:p>
            <a:r>
              <a:rPr lang="de-DE" dirty="0"/>
              <a:t>Title, Calibri </a:t>
            </a:r>
            <a:r>
              <a:rPr lang="de-DE" dirty="0" err="1"/>
              <a:t>Bold</a:t>
            </a:r>
            <a:r>
              <a:rPr lang="de-DE" dirty="0"/>
              <a:t>, 32pt</a:t>
            </a:r>
            <a:endParaRPr lang="en-US" dirty="0"/>
          </a:p>
        </p:txBody>
      </p:sp>
      <p:sp>
        <p:nvSpPr>
          <p:cNvPr id="3" name="Inhaltsplatzhalter 2">
            <a:extLst>
              <a:ext uri="{FF2B5EF4-FFF2-40B4-BE49-F238E27FC236}">
                <a16:creationId xmlns:a16="http://schemas.microsoft.com/office/drawing/2014/main" id="{8F6218BB-9612-46C6-A52F-A0032EAFB803}"/>
              </a:ext>
            </a:extLst>
          </p:cNvPr>
          <p:cNvSpPr>
            <a:spLocks noGrp="1"/>
          </p:cNvSpPr>
          <p:nvPr>
            <p:ph idx="1" hasCustomPrompt="1"/>
          </p:nvPr>
        </p:nvSpPr>
        <p:spPr>
          <a:xfrm>
            <a:off x="695325" y="1628775"/>
            <a:ext cx="5184775"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5" name="Fußzeilenplatzhalter 4">
            <a:extLst>
              <a:ext uri="{FF2B5EF4-FFF2-40B4-BE49-F238E27FC236}">
                <a16:creationId xmlns:a16="http://schemas.microsoft.com/office/drawing/2014/main" id="{8D6D93A5-EB18-42A3-92C9-BCCDDB54CB05}"/>
              </a:ext>
            </a:extLst>
          </p:cNvPr>
          <p:cNvSpPr>
            <a:spLocks noGrp="1"/>
          </p:cNvSpPr>
          <p:nvPr>
            <p:ph type="ftr" sz="quarter" idx="11"/>
          </p:nvPr>
        </p:nvSpPr>
        <p:spPr/>
        <p:txBody>
          <a:bodyPr/>
          <a:lstStyle>
            <a:lvl1pPr>
              <a:defRPr>
                <a:solidFill>
                  <a:schemeClr val="bg1"/>
                </a:solidFill>
              </a:defRPr>
            </a:lvl1pPr>
          </a:lstStyle>
          <a:p>
            <a:r>
              <a:rPr lang="en-US" dirty="0"/>
              <a:t>Footer</a:t>
            </a:r>
          </a:p>
        </p:txBody>
      </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8" name="Textplatzhalter 7">
            <a:extLst>
              <a:ext uri="{FF2B5EF4-FFF2-40B4-BE49-F238E27FC236}">
                <a16:creationId xmlns:a16="http://schemas.microsoft.com/office/drawing/2014/main" id="{42F3C34B-24E5-47A4-6876-9BC98D1537C5}"/>
              </a:ext>
            </a:extLst>
          </p:cNvPr>
          <p:cNvSpPr>
            <a:spLocks noGrp="1"/>
          </p:cNvSpPr>
          <p:nvPr>
            <p:ph type="body" sz="quarter" idx="13" hasCustomPrompt="1"/>
          </p:nvPr>
        </p:nvSpPr>
        <p:spPr>
          <a:xfrm>
            <a:off x="695325" y="815466"/>
            <a:ext cx="8707438" cy="350838"/>
          </a:xfrm>
        </p:spPr>
        <p:txBody>
          <a:bodyPr>
            <a:noAutofit/>
          </a:bodyPr>
          <a:lstStyle>
            <a:lvl1pPr marL="0" indent="0">
              <a:buNone/>
              <a:defRPr sz="2400">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
        <p:nvSpPr>
          <p:cNvPr id="4" name="Inhaltsplatzhalter 2">
            <a:extLst>
              <a:ext uri="{FF2B5EF4-FFF2-40B4-BE49-F238E27FC236}">
                <a16:creationId xmlns:a16="http://schemas.microsoft.com/office/drawing/2014/main" id="{E7EEBF4B-23B4-6B8C-35B0-DF94A24DC996}"/>
              </a:ext>
            </a:extLst>
          </p:cNvPr>
          <p:cNvSpPr>
            <a:spLocks noGrp="1"/>
          </p:cNvSpPr>
          <p:nvPr>
            <p:ph idx="14" hasCustomPrompt="1"/>
          </p:nvPr>
        </p:nvSpPr>
        <p:spPr>
          <a:xfrm>
            <a:off x="6311902" y="1628775"/>
            <a:ext cx="5184775"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Tree>
    <p:extLst>
      <p:ext uri="{BB962C8B-B14F-4D97-AF65-F5344CB8AC3E}">
        <p14:creationId xmlns:p14="http://schemas.microsoft.com/office/powerpoint/2010/main" val="1629662670"/>
      </p:ext>
    </p:extLst>
  </p:cSld>
  <p:clrMapOvr>
    <a:masterClrMapping/>
  </p:clrMapOvr>
  <p:extLst>
    <p:ext uri="{DCECCB84-F9BA-43D5-87BE-67443E8EF086}">
      <p15:sldGuideLst xmlns:p15="http://schemas.microsoft.com/office/powerpoint/2012/main">
        <p15:guide id="1" pos="3704" userDrawn="1">
          <p15:clr>
            <a:srgbClr val="FBAE40"/>
          </p15:clr>
        </p15:guide>
        <p15:guide id="2" pos="3840" userDrawn="1">
          <p15:clr>
            <a:srgbClr val="FBAE40"/>
          </p15:clr>
        </p15:guide>
        <p15:guide id="3" pos="3976"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2 contents gradient">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AD67E5EC-839E-691D-2DE5-56FC6E94E253}"/>
              </a:ext>
            </a:extLst>
          </p:cNvPr>
          <p:cNvGraphicFramePr>
            <a:graphicFrameLocks noChangeAspect="1"/>
          </p:cNvGraphicFramePr>
          <p:nvPr userDrawn="1">
            <p:custDataLst>
              <p:tags r:id="rId1"/>
            </p:custDataLst>
            <p:extLst>
              <p:ext uri="{D42A27DB-BD31-4B8C-83A1-F6EECF244321}">
                <p14:modId xmlns:p14="http://schemas.microsoft.com/office/powerpoint/2010/main" val="4010700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80" imgH="481" progId="TCLayout.ActiveDocument.1">
                  <p:embed/>
                </p:oleObj>
              </mc:Choice>
              <mc:Fallback>
                <p:oleObj name="think-cell Folie" r:id="rId3" imgW="480" imgH="481" progId="TCLayout.ActiveDocument.1">
                  <p:embed/>
                  <p:pic>
                    <p:nvPicPr>
                      <p:cNvPr id="12" name="Objekt 11" hidden="1">
                        <a:extLst>
                          <a:ext uri="{FF2B5EF4-FFF2-40B4-BE49-F238E27FC236}">
                            <a16:creationId xmlns:a16="http://schemas.microsoft.com/office/drawing/2014/main" id="{AD67E5EC-839E-691D-2DE5-56FC6E94E2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Freihandform: Form 13">
            <a:extLst>
              <a:ext uri="{FF2B5EF4-FFF2-40B4-BE49-F238E27FC236}">
                <a16:creationId xmlns:a16="http://schemas.microsoft.com/office/drawing/2014/main" id="{55F5D3BA-7765-4777-5C46-26EFE8E737BD}"/>
              </a:ext>
            </a:extLst>
          </p:cNvPr>
          <p:cNvSpPr>
            <a:spLocks/>
          </p:cNvSpPr>
          <p:nvPr userDrawn="1"/>
        </p:nvSpPr>
        <p:spPr>
          <a:xfrm>
            <a:off x="1" y="6449104"/>
            <a:ext cx="11221821" cy="408897"/>
          </a:xfrm>
          <a:custGeom>
            <a:avLst/>
            <a:gdLst>
              <a:gd name="connsiteX0" fmla="*/ 0 w 11221821"/>
              <a:gd name="connsiteY0" fmla="*/ 0 h 408897"/>
              <a:gd name="connsiteX1" fmla="*/ 2901161 w 11221821"/>
              <a:gd name="connsiteY1" fmla="*/ 0 h 408897"/>
              <a:gd name="connsiteX2" fmla="*/ 7380716 w 11221821"/>
              <a:gd name="connsiteY2" fmla="*/ 0 h 408897"/>
              <a:gd name="connsiteX3" fmla="*/ 10922202 w 11221821"/>
              <a:gd name="connsiteY3" fmla="*/ 0 h 408897"/>
              <a:gd name="connsiteX4" fmla="*/ 11221821 w 11221821"/>
              <a:gd name="connsiteY4" fmla="*/ 408897 h 408897"/>
              <a:gd name="connsiteX5" fmla="*/ 0 w 11221821"/>
              <a:gd name="connsiteY5" fmla="*/ 408897 h 408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21821" h="408897">
                <a:moveTo>
                  <a:pt x="0" y="0"/>
                </a:moveTo>
                <a:lnTo>
                  <a:pt x="2901161" y="0"/>
                </a:lnTo>
                <a:lnTo>
                  <a:pt x="7380716" y="0"/>
                </a:lnTo>
                <a:lnTo>
                  <a:pt x="10922202" y="0"/>
                </a:lnTo>
                <a:lnTo>
                  <a:pt x="11221821" y="408897"/>
                </a:lnTo>
                <a:lnTo>
                  <a:pt x="0" y="408897"/>
                </a:lnTo>
                <a:close/>
              </a:path>
            </a:pathLst>
          </a:custGeom>
          <a:gradFill>
            <a:gsLst>
              <a:gs pos="45000">
                <a:schemeClr val="accent1"/>
              </a:gs>
              <a:gs pos="100000">
                <a:schemeClr val="accent3"/>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el 1">
            <a:extLst>
              <a:ext uri="{FF2B5EF4-FFF2-40B4-BE49-F238E27FC236}">
                <a16:creationId xmlns:a16="http://schemas.microsoft.com/office/drawing/2014/main" id="{CDA4FE97-9D3F-4806-826F-04FA53127EE8}"/>
              </a:ext>
            </a:extLst>
          </p:cNvPr>
          <p:cNvSpPr>
            <a:spLocks noGrp="1"/>
          </p:cNvSpPr>
          <p:nvPr>
            <p:ph type="title" hasCustomPrompt="1"/>
          </p:nvPr>
        </p:nvSpPr>
        <p:spPr/>
        <p:txBody>
          <a:bodyPr vert="horz"/>
          <a:lstStyle/>
          <a:p>
            <a:r>
              <a:rPr lang="de-DE" dirty="0"/>
              <a:t>Title, Calibri </a:t>
            </a:r>
            <a:r>
              <a:rPr lang="de-DE" dirty="0" err="1"/>
              <a:t>Bold</a:t>
            </a:r>
            <a:r>
              <a:rPr lang="de-DE" dirty="0"/>
              <a:t>, 32pt</a:t>
            </a:r>
            <a:endParaRPr lang="en-US" dirty="0"/>
          </a:p>
        </p:txBody>
      </p:sp>
      <p:sp>
        <p:nvSpPr>
          <p:cNvPr id="3" name="Inhaltsplatzhalter 2">
            <a:extLst>
              <a:ext uri="{FF2B5EF4-FFF2-40B4-BE49-F238E27FC236}">
                <a16:creationId xmlns:a16="http://schemas.microsoft.com/office/drawing/2014/main" id="{8F6218BB-9612-46C6-A52F-A0032EAFB803}"/>
              </a:ext>
            </a:extLst>
          </p:cNvPr>
          <p:cNvSpPr>
            <a:spLocks noGrp="1"/>
          </p:cNvSpPr>
          <p:nvPr>
            <p:ph idx="1" hasCustomPrompt="1"/>
          </p:nvPr>
        </p:nvSpPr>
        <p:spPr>
          <a:xfrm>
            <a:off x="695325" y="1628775"/>
            <a:ext cx="5184775"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5" name="Fußzeilenplatzhalter 4">
            <a:extLst>
              <a:ext uri="{FF2B5EF4-FFF2-40B4-BE49-F238E27FC236}">
                <a16:creationId xmlns:a16="http://schemas.microsoft.com/office/drawing/2014/main" id="{8D6D93A5-EB18-42A3-92C9-BCCDDB54CB05}"/>
              </a:ext>
            </a:extLst>
          </p:cNvPr>
          <p:cNvSpPr>
            <a:spLocks noGrp="1"/>
          </p:cNvSpPr>
          <p:nvPr>
            <p:ph type="ftr" sz="quarter" idx="11"/>
          </p:nvPr>
        </p:nvSpPr>
        <p:spPr/>
        <p:txBody>
          <a:bodyPr/>
          <a:lstStyle>
            <a:lvl1pPr>
              <a:defRPr>
                <a:solidFill>
                  <a:schemeClr val="bg1"/>
                </a:solidFill>
              </a:defRPr>
            </a:lvl1pPr>
          </a:lstStyle>
          <a:p>
            <a:r>
              <a:rPr lang="en-US" dirty="0"/>
              <a:t>Footer</a:t>
            </a:r>
          </a:p>
        </p:txBody>
      </p:sp>
      <p:sp>
        <p:nvSpPr>
          <p:cNvPr id="6" name="Foliennummernplatzhalter 5">
            <a:extLst>
              <a:ext uri="{FF2B5EF4-FFF2-40B4-BE49-F238E27FC236}">
                <a16:creationId xmlns:a16="http://schemas.microsoft.com/office/drawing/2014/main" id="{08953138-989E-43D2-AA51-6AD3AD998C1B}"/>
              </a:ext>
            </a:extLst>
          </p:cNvPr>
          <p:cNvSpPr>
            <a:spLocks noGrp="1"/>
          </p:cNvSpPr>
          <p:nvPr>
            <p:ph type="sldNum" sz="quarter" idx="12"/>
          </p:nvPr>
        </p:nvSpPr>
        <p:spPr/>
        <p:txBody>
          <a:bodyPr/>
          <a:lstStyle/>
          <a:p>
            <a:fld id="{750C1F77-72F5-43F8-9226-1DB1CB2C2D83}" type="slidenum">
              <a:rPr lang="en-US" smtClean="0"/>
              <a:t>‹#›</a:t>
            </a:fld>
            <a:endParaRPr lang="en-US"/>
          </a:p>
        </p:txBody>
      </p:sp>
      <p:sp>
        <p:nvSpPr>
          <p:cNvPr id="8" name="Textplatzhalter 7">
            <a:extLst>
              <a:ext uri="{FF2B5EF4-FFF2-40B4-BE49-F238E27FC236}">
                <a16:creationId xmlns:a16="http://schemas.microsoft.com/office/drawing/2014/main" id="{42F3C34B-24E5-47A4-6876-9BC98D1537C5}"/>
              </a:ext>
            </a:extLst>
          </p:cNvPr>
          <p:cNvSpPr>
            <a:spLocks noGrp="1"/>
          </p:cNvSpPr>
          <p:nvPr>
            <p:ph type="body" sz="quarter" idx="13" hasCustomPrompt="1"/>
          </p:nvPr>
        </p:nvSpPr>
        <p:spPr>
          <a:xfrm>
            <a:off x="695325" y="815466"/>
            <a:ext cx="8707438" cy="350838"/>
          </a:xfrm>
        </p:spPr>
        <p:txBody>
          <a:bodyPr>
            <a:noAutofit/>
          </a:bodyPr>
          <a:lstStyle>
            <a:lvl1pPr marL="0" indent="0">
              <a:buNone/>
              <a:defRPr sz="2400">
                <a:latin typeface="+mj-lt"/>
              </a:defRPr>
            </a:lvl1pPr>
            <a:lvl2pPr marL="216000" indent="0">
              <a:buNone/>
              <a:defRPr/>
            </a:lvl2pPr>
            <a:lvl3pPr marL="432000" indent="0">
              <a:buNone/>
              <a:defRPr/>
            </a:lvl3pPr>
            <a:lvl4pPr marL="648000" indent="0">
              <a:buNone/>
              <a:defRPr/>
            </a:lvl4pPr>
            <a:lvl5pPr marL="864000" indent="0">
              <a:buNone/>
              <a:defRPr/>
            </a:lvl5pPr>
          </a:lstStyle>
          <a:p>
            <a:pPr lvl="0"/>
            <a:r>
              <a:rPr lang="de-DE" dirty="0" err="1"/>
              <a:t>Subtitle</a:t>
            </a:r>
            <a:r>
              <a:rPr lang="de-DE" dirty="0"/>
              <a:t>, Calibri, 24pt</a:t>
            </a:r>
            <a:endParaRPr lang="en-US" dirty="0"/>
          </a:p>
        </p:txBody>
      </p:sp>
      <p:sp>
        <p:nvSpPr>
          <p:cNvPr id="4" name="Inhaltsplatzhalter 2">
            <a:extLst>
              <a:ext uri="{FF2B5EF4-FFF2-40B4-BE49-F238E27FC236}">
                <a16:creationId xmlns:a16="http://schemas.microsoft.com/office/drawing/2014/main" id="{E7EEBF4B-23B4-6B8C-35B0-DF94A24DC996}"/>
              </a:ext>
            </a:extLst>
          </p:cNvPr>
          <p:cNvSpPr>
            <a:spLocks noGrp="1"/>
          </p:cNvSpPr>
          <p:nvPr>
            <p:ph idx="14" hasCustomPrompt="1"/>
          </p:nvPr>
        </p:nvSpPr>
        <p:spPr>
          <a:xfrm>
            <a:off x="6311902" y="1628775"/>
            <a:ext cx="5184775" cy="4608512"/>
          </a:xfrm>
        </p:spPr>
        <p:txBody>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Tree>
    <p:extLst>
      <p:ext uri="{BB962C8B-B14F-4D97-AF65-F5344CB8AC3E}">
        <p14:creationId xmlns:p14="http://schemas.microsoft.com/office/powerpoint/2010/main" val="3992087252"/>
      </p:ext>
    </p:extLst>
  </p:cSld>
  <p:clrMapOvr>
    <a:masterClrMapping/>
  </p:clrMapOvr>
  <p:extLst>
    <p:ext uri="{DCECCB84-F9BA-43D5-87BE-67443E8EF086}">
      <p15:sldGuideLst xmlns:p15="http://schemas.microsoft.com/office/powerpoint/2012/main">
        <p15:guide id="1" pos="3704">
          <p15:clr>
            <a:srgbClr val="FBAE40"/>
          </p15:clr>
        </p15:guide>
        <p15:guide id="2" pos="3840">
          <p15:clr>
            <a:srgbClr val="FBAE40"/>
          </p15:clr>
        </p15:guide>
        <p15:guide id="3" pos="3976">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681D2F5-F521-4BE5-B798-0A126095063E}"/>
              </a:ext>
            </a:extLst>
          </p:cNvPr>
          <p:cNvGraphicFramePr>
            <a:graphicFrameLocks noChangeAspect="1"/>
          </p:cNvGraphicFramePr>
          <p:nvPr userDrawn="1">
            <p:custDataLst>
              <p:tags r:id="rId37"/>
            </p:custDataLst>
            <p:extLst>
              <p:ext uri="{D42A27DB-BD31-4B8C-83A1-F6EECF244321}">
                <p14:modId xmlns:p14="http://schemas.microsoft.com/office/powerpoint/2010/main" val="3129070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8" imgW="306" imgH="306" progId="TCLayout.ActiveDocument.1">
                  <p:embed/>
                </p:oleObj>
              </mc:Choice>
              <mc:Fallback>
                <p:oleObj name="think-cell Folie" r:id="rId38" imgW="306" imgH="306" progId="TCLayout.ActiveDocument.1">
                  <p:embed/>
                  <p:pic>
                    <p:nvPicPr>
                      <p:cNvPr id="8" name="think-cell data - do not delete" hidden="1">
                        <a:extLst>
                          <a:ext uri="{FF2B5EF4-FFF2-40B4-BE49-F238E27FC236}">
                            <a16:creationId xmlns:a16="http://schemas.microsoft.com/office/drawing/2014/main" id="{0681D2F5-F521-4BE5-B798-0A126095063E}"/>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868F756-30B8-4055-975A-13EAF0873A49}"/>
              </a:ext>
            </a:extLst>
          </p:cNvPr>
          <p:cNvSpPr>
            <a:spLocks noGrp="1"/>
          </p:cNvSpPr>
          <p:nvPr>
            <p:ph type="title"/>
          </p:nvPr>
        </p:nvSpPr>
        <p:spPr>
          <a:xfrm>
            <a:off x="695325" y="372268"/>
            <a:ext cx="8707092" cy="443198"/>
          </a:xfrm>
          <a:prstGeom prst="rect">
            <a:avLst/>
          </a:prstGeom>
        </p:spPr>
        <p:txBody>
          <a:bodyPr vert="horz" wrap="square" lIns="0" tIns="0" rIns="0" bIns="0" rtlCol="0" anchor="t">
            <a:spAutoFit/>
          </a:bodyPr>
          <a:lstStyle/>
          <a:p>
            <a:r>
              <a:rPr lang="de-DE" dirty="0"/>
              <a:t>Title, Calibri </a:t>
            </a:r>
            <a:r>
              <a:rPr lang="de-DE" dirty="0" err="1"/>
              <a:t>Bold</a:t>
            </a:r>
            <a:r>
              <a:rPr lang="de-DE" dirty="0"/>
              <a:t>, 32pt</a:t>
            </a:r>
            <a:endParaRPr lang="en-US" dirty="0"/>
          </a:p>
        </p:txBody>
      </p:sp>
      <p:sp>
        <p:nvSpPr>
          <p:cNvPr id="3" name="Textplatzhalter 2">
            <a:extLst>
              <a:ext uri="{FF2B5EF4-FFF2-40B4-BE49-F238E27FC236}">
                <a16:creationId xmlns:a16="http://schemas.microsoft.com/office/drawing/2014/main" id="{81C2D961-5BF5-40E0-8A9E-261781444D8C}"/>
              </a:ext>
            </a:extLst>
          </p:cNvPr>
          <p:cNvSpPr>
            <a:spLocks noGrp="1"/>
          </p:cNvSpPr>
          <p:nvPr>
            <p:ph type="body" idx="1"/>
          </p:nvPr>
        </p:nvSpPr>
        <p:spPr>
          <a:xfrm>
            <a:off x="695325" y="1628775"/>
            <a:ext cx="10801350" cy="4608512"/>
          </a:xfrm>
          <a:prstGeom prst="rect">
            <a:avLst/>
          </a:prstGeom>
        </p:spPr>
        <p:txBody>
          <a:bodyPr vert="horz" lIns="0" tIns="0" rIns="0" bIns="0" rtlCol="0">
            <a:normAutofit/>
          </a:bodyPr>
          <a:lstStyle/>
          <a:p>
            <a:pPr lvl="0"/>
            <a:r>
              <a:rPr lang="de-DE" dirty="0"/>
              <a:t>First </a:t>
            </a:r>
            <a:r>
              <a:rPr lang="de-DE" dirty="0" err="1"/>
              <a:t>level</a:t>
            </a:r>
            <a:r>
              <a:rPr lang="de-DE" dirty="0"/>
              <a:t>, Calibri Light, 20pt</a:t>
            </a:r>
          </a:p>
          <a:p>
            <a:pPr lvl="1"/>
            <a:r>
              <a:rPr lang="de-DE" dirty="0"/>
              <a:t>Second </a:t>
            </a:r>
            <a:r>
              <a:rPr lang="de-DE" dirty="0" err="1"/>
              <a:t>level</a:t>
            </a:r>
            <a:r>
              <a:rPr lang="de-DE" dirty="0"/>
              <a:t>, Calibri Light, 18pt</a:t>
            </a:r>
          </a:p>
          <a:p>
            <a:pPr lvl="2"/>
            <a:r>
              <a:rPr lang="de-DE" dirty="0"/>
              <a:t>Third </a:t>
            </a:r>
            <a:r>
              <a:rPr lang="de-DE" dirty="0" err="1"/>
              <a:t>level</a:t>
            </a:r>
            <a:r>
              <a:rPr lang="de-DE" dirty="0"/>
              <a:t>, Calibri Light, 16pt</a:t>
            </a:r>
          </a:p>
          <a:p>
            <a:pPr lvl="3"/>
            <a:r>
              <a:rPr lang="de-DE" dirty="0" err="1"/>
              <a:t>Fourth</a:t>
            </a:r>
            <a:r>
              <a:rPr lang="de-DE" dirty="0"/>
              <a:t> </a:t>
            </a:r>
            <a:r>
              <a:rPr lang="de-DE" dirty="0" err="1"/>
              <a:t>level</a:t>
            </a:r>
            <a:r>
              <a:rPr lang="de-DE" dirty="0"/>
              <a:t>, Calibri Light, 14pt</a:t>
            </a:r>
          </a:p>
          <a:p>
            <a:pPr lvl="4"/>
            <a:r>
              <a:rPr lang="de-DE" dirty="0" err="1"/>
              <a:t>Fifth</a:t>
            </a:r>
            <a:r>
              <a:rPr lang="de-DE" dirty="0"/>
              <a:t> </a:t>
            </a:r>
            <a:r>
              <a:rPr lang="de-DE" dirty="0" err="1"/>
              <a:t>level</a:t>
            </a:r>
            <a:r>
              <a:rPr lang="de-DE" dirty="0"/>
              <a:t>, Calibri Light, 12pt</a:t>
            </a:r>
            <a:endParaRPr lang="en-US" dirty="0"/>
          </a:p>
        </p:txBody>
      </p:sp>
      <p:sp>
        <p:nvSpPr>
          <p:cNvPr id="5" name="Fußzeilenplatzhalter 4">
            <a:extLst>
              <a:ext uri="{FF2B5EF4-FFF2-40B4-BE49-F238E27FC236}">
                <a16:creationId xmlns:a16="http://schemas.microsoft.com/office/drawing/2014/main" id="{C90E10C9-3B14-4649-9C2F-EB7AE005FD77}"/>
              </a:ext>
            </a:extLst>
          </p:cNvPr>
          <p:cNvSpPr>
            <a:spLocks noGrp="1"/>
          </p:cNvSpPr>
          <p:nvPr>
            <p:ph type="ftr" sz="quarter" idx="3"/>
          </p:nvPr>
        </p:nvSpPr>
        <p:spPr>
          <a:xfrm>
            <a:off x="695325" y="6561220"/>
            <a:ext cx="9563100" cy="184666"/>
          </a:xfrm>
          <a:prstGeom prst="rect">
            <a:avLst/>
          </a:prstGeom>
        </p:spPr>
        <p:txBody>
          <a:bodyPr vert="horz" wrap="square" lIns="0" tIns="0" rIns="0" bIns="0" rtlCol="0" anchor="ctr">
            <a:spAutoFit/>
          </a:bodyPr>
          <a:lstStyle>
            <a:lvl1pPr algn="l">
              <a:lnSpc>
                <a:spcPct val="100000"/>
              </a:lnSpc>
              <a:defRPr sz="1200">
                <a:solidFill>
                  <a:schemeClr val="tx2"/>
                </a:solidFill>
              </a:defRPr>
            </a:lvl1pPr>
          </a:lstStyle>
          <a:p>
            <a:r>
              <a:rPr lang="en-US"/>
              <a:t>Footer</a:t>
            </a:r>
            <a:endParaRPr lang="en-US" dirty="0"/>
          </a:p>
        </p:txBody>
      </p:sp>
      <p:sp>
        <p:nvSpPr>
          <p:cNvPr id="6" name="Foliennummernplatzhalter 5">
            <a:extLst>
              <a:ext uri="{FF2B5EF4-FFF2-40B4-BE49-F238E27FC236}">
                <a16:creationId xmlns:a16="http://schemas.microsoft.com/office/drawing/2014/main" id="{ADC975A2-FAA1-4554-8C58-D5FCCE3E2709}"/>
              </a:ext>
            </a:extLst>
          </p:cNvPr>
          <p:cNvSpPr>
            <a:spLocks noGrp="1"/>
          </p:cNvSpPr>
          <p:nvPr>
            <p:ph type="sldNum" sz="quarter" idx="4"/>
          </p:nvPr>
        </p:nvSpPr>
        <p:spPr>
          <a:xfrm>
            <a:off x="10925174" y="6561220"/>
            <a:ext cx="569119" cy="184666"/>
          </a:xfrm>
          <a:prstGeom prst="rect">
            <a:avLst/>
          </a:prstGeom>
        </p:spPr>
        <p:txBody>
          <a:bodyPr vert="horz" wrap="square" lIns="0" tIns="0" rIns="0" bIns="0" rtlCol="0" anchor="ctr">
            <a:spAutoFit/>
          </a:bodyPr>
          <a:lstStyle>
            <a:lvl1pPr algn="r">
              <a:lnSpc>
                <a:spcPct val="100000"/>
              </a:lnSpc>
              <a:defRPr sz="1200">
                <a:solidFill>
                  <a:schemeClr val="tx2"/>
                </a:solidFill>
              </a:defRPr>
            </a:lvl1pPr>
          </a:lstStyle>
          <a:p>
            <a:fld id="{750C1F77-72F5-43F8-9226-1DB1CB2C2D83}" type="slidenum">
              <a:rPr lang="en-US" smtClean="0"/>
              <a:pPr/>
              <a:t>‹#›</a:t>
            </a:fld>
            <a:endParaRPr lang="en-US" dirty="0"/>
          </a:p>
        </p:txBody>
      </p:sp>
      <p:grpSp>
        <p:nvGrpSpPr>
          <p:cNvPr id="22" name="Gruppieren 21">
            <a:extLst>
              <a:ext uri="{FF2B5EF4-FFF2-40B4-BE49-F238E27FC236}">
                <a16:creationId xmlns:a16="http://schemas.microsoft.com/office/drawing/2014/main" id="{25A90418-0BA6-BA51-A875-42586D79FC56}"/>
              </a:ext>
            </a:extLst>
          </p:cNvPr>
          <p:cNvGrpSpPr/>
          <p:nvPr userDrawn="1"/>
        </p:nvGrpSpPr>
        <p:grpSpPr>
          <a:xfrm>
            <a:off x="9938597" y="441325"/>
            <a:ext cx="1558078" cy="295275"/>
            <a:chOff x="9938597" y="441325"/>
            <a:chExt cx="1558078" cy="295275"/>
          </a:xfrm>
        </p:grpSpPr>
        <p:sp>
          <p:nvSpPr>
            <p:cNvPr id="19" name="Freeform: Shape 10">
              <a:extLst>
                <a:ext uri="{FF2B5EF4-FFF2-40B4-BE49-F238E27FC236}">
                  <a16:creationId xmlns:a16="http://schemas.microsoft.com/office/drawing/2014/main" id="{754ABD6D-826B-8C69-B722-7EBDE2ACC7A2}"/>
                </a:ext>
              </a:extLst>
            </p:cNvPr>
            <p:cNvSpPr/>
            <p:nvPr/>
          </p:nvSpPr>
          <p:spPr>
            <a:xfrm>
              <a:off x="9938597" y="441325"/>
              <a:ext cx="77518" cy="289100"/>
            </a:xfrm>
            <a:custGeom>
              <a:avLst/>
              <a:gdLst>
                <a:gd name="connsiteX0" fmla="*/ 92671 w 92670"/>
                <a:gd name="connsiteY0" fmla="*/ 0 h 338478"/>
                <a:gd name="connsiteX1" fmla="*/ 0 w 92670"/>
                <a:gd name="connsiteY1" fmla="*/ 0 h 338478"/>
                <a:gd name="connsiteX2" fmla="*/ 0 w 92670"/>
                <a:gd name="connsiteY2" fmla="*/ 338478 h 338478"/>
                <a:gd name="connsiteX3" fmla="*/ 92671 w 92670"/>
                <a:gd name="connsiteY3" fmla="*/ 217546 h 338478"/>
              </a:gdLst>
              <a:ahLst/>
              <a:cxnLst>
                <a:cxn ang="0">
                  <a:pos x="connsiteX0" y="connsiteY0"/>
                </a:cxn>
                <a:cxn ang="0">
                  <a:pos x="connsiteX1" y="connsiteY1"/>
                </a:cxn>
                <a:cxn ang="0">
                  <a:pos x="connsiteX2" y="connsiteY2"/>
                </a:cxn>
                <a:cxn ang="0">
                  <a:pos x="connsiteX3" y="connsiteY3"/>
                </a:cxn>
              </a:cxnLst>
              <a:rect l="l" t="t" r="r" b="b"/>
              <a:pathLst>
                <a:path w="92670" h="338478">
                  <a:moveTo>
                    <a:pt x="92671" y="0"/>
                  </a:moveTo>
                  <a:lnTo>
                    <a:pt x="0" y="0"/>
                  </a:lnTo>
                  <a:lnTo>
                    <a:pt x="0" y="338478"/>
                  </a:lnTo>
                  <a:lnTo>
                    <a:pt x="92671" y="217546"/>
                  </a:lnTo>
                  <a:close/>
                </a:path>
              </a:pathLst>
            </a:custGeom>
            <a:solidFill>
              <a:schemeClr val="accent3"/>
            </a:solidFill>
            <a:ln w="6540" cap="flat">
              <a:noFill/>
              <a:prstDash val="solid"/>
              <a:miter/>
            </a:ln>
          </p:spPr>
          <p:txBody>
            <a:bodyPr rtlCol="0" anchor="ctr"/>
            <a:lstStyle/>
            <a:p>
              <a:endParaRPr lang="en-GB"/>
            </a:p>
          </p:txBody>
        </p:sp>
        <p:sp>
          <p:nvSpPr>
            <p:cNvPr id="20" name="Freeform: Shape 11">
              <a:extLst>
                <a:ext uri="{FF2B5EF4-FFF2-40B4-BE49-F238E27FC236}">
                  <a16:creationId xmlns:a16="http://schemas.microsoft.com/office/drawing/2014/main" id="{56AA8E2E-88C4-BF1A-1E7B-239732AEAFBF}"/>
                </a:ext>
              </a:extLst>
            </p:cNvPr>
            <p:cNvSpPr/>
            <p:nvPr/>
          </p:nvSpPr>
          <p:spPr>
            <a:xfrm>
              <a:off x="10016115" y="441325"/>
              <a:ext cx="1480560" cy="295275"/>
            </a:xfrm>
            <a:custGeom>
              <a:avLst/>
              <a:gdLst>
                <a:gd name="connsiteX0" fmla="*/ 196515 w 1769954"/>
                <a:gd name="connsiteY0" fmla="*/ 92671 h 345708"/>
                <a:gd name="connsiteX1" fmla="*/ 99243 w 1769954"/>
                <a:gd name="connsiteY1" fmla="*/ 217546 h 345708"/>
                <a:gd name="connsiteX2" fmla="*/ 194543 w 1769954"/>
                <a:gd name="connsiteY2" fmla="*/ 338478 h 345708"/>
                <a:gd name="connsiteX3" fmla="*/ 84784 w 1769954"/>
                <a:gd name="connsiteY3" fmla="*/ 338478 h 345708"/>
                <a:gd name="connsiteX4" fmla="*/ 0 w 1769954"/>
                <a:gd name="connsiteY4" fmla="*/ 217546 h 345708"/>
                <a:gd name="connsiteX5" fmla="*/ 95300 w 1769954"/>
                <a:gd name="connsiteY5" fmla="*/ 93328 h 345708"/>
                <a:gd name="connsiteX6" fmla="*/ 196515 w 1769954"/>
                <a:gd name="connsiteY6" fmla="*/ 92671 h 345708"/>
                <a:gd name="connsiteX7" fmla="*/ 338478 w 1769954"/>
                <a:gd name="connsiteY7" fmla="*/ 85441 h 345708"/>
                <a:gd name="connsiteX8" fmla="*/ 195857 w 1769954"/>
                <a:gd name="connsiteY8" fmla="*/ 215575 h 345708"/>
                <a:gd name="connsiteX9" fmla="*/ 338478 w 1769954"/>
                <a:gd name="connsiteY9" fmla="*/ 345708 h 345708"/>
                <a:gd name="connsiteX10" fmla="*/ 481100 w 1769954"/>
                <a:gd name="connsiteY10" fmla="*/ 215575 h 345708"/>
                <a:gd name="connsiteX11" fmla="*/ 338478 w 1769954"/>
                <a:gd name="connsiteY11" fmla="*/ 85441 h 345708"/>
                <a:gd name="connsiteX12" fmla="*/ 291157 w 1769954"/>
                <a:gd name="connsiteY12" fmla="*/ 215575 h 345708"/>
                <a:gd name="connsiteX13" fmla="*/ 338478 w 1769954"/>
                <a:gd name="connsiteY13" fmla="*/ 139335 h 345708"/>
                <a:gd name="connsiteX14" fmla="*/ 385800 w 1769954"/>
                <a:gd name="connsiteY14" fmla="*/ 215575 h 345708"/>
                <a:gd name="connsiteX15" fmla="*/ 338478 w 1769954"/>
                <a:gd name="connsiteY15" fmla="*/ 291814 h 345708"/>
                <a:gd name="connsiteX16" fmla="*/ 291157 w 1769954"/>
                <a:gd name="connsiteY16" fmla="*/ 215575 h 345708"/>
                <a:gd name="connsiteX17" fmla="*/ 683529 w 1769954"/>
                <a:gd name="connsiteY17" fmla="*/ 85441 h 345708"/>
                <a:gd name="connsiteX18" fmla="*/ 606632 w 1769954"/>
                <a:gd name="connsiteY18" fmla="*/ 119618 h 345708"/>
                <a:gd name="connsiteX19" fmla="*/ 605318 w 1769954"/>
                <a:gd name="connsiteY19" fmla="*/ 92671 h 345708"/>
                <a:gd name="connsiteX20" fmla="*/ 513962 w 1769954"/>
                <a:gd name="connsiteY20" fmla="*/ 92671 h 345708"/>
                <a:gd name="connsiteX21" fmla="*/ 513962 w 1769954"/>
                <a:gd name="connsiteY21" fmla="*/ 337821 h 345708"/>
                <a:gd name="connsiteX22" fmla="*/ 606632 w 1769954"/>
                <a:gd name="connsiteY22" fmla="*/ 337821 h 345708"/>
                <a:gd name="connsiteX23" fmla="*/ 606632 w 1769954"/>
                <a:gd name="connsiteY23" fmla="*/ 197172 h 345708"/>
                <a:gd name="connsiteX24" fmla="*/ 646724 w 1769954"/>
                <a:gd name="connsiteY24" fmla="*/ 143935 h 345708"/>
                <a:gd name="connsiteX25" fmla="*/ 682215 w 1769954"/>
                <a:gd name="connsiteY25" fmla="*/ 193886 h 345708"/>
                <a:gd name="connsiteX26" fmla="*/ 682215 w 1769954"/>
                <a:gd name="connsiteY26" fmla="*/ 337821 h 345708"/>
                <a:gd name="connsiteX27" fmla="*/ 774886 w 1769954"/>
                <a:gd name="connsiteY27" fmla="*/ 337821 h 345708"/>
                <a:gd name="connsiteX28" fmla="*/ 774886 w 1769954"/>
                <a:gd name="connsiteY28" fmla="*/ 173511 h 345708"/>
                <a:gd name="connsiteX29" fmla="*/ 683529 w 1769954"/>
                <a:gd name="connsiteY29" fmla="*/ 85441 h 345708"/>
                <a:gd name="connsiteX30" fmla="*/ 815635 w 1769954"/>
                <a:gd name="connsiteY30" fmla="*/ 260924 h 345708"/>
                <a:gd name="connsiteX31" fmla="*/ 912249 w 1769954"/>
                <a:gd name="connsiteY31" fmla="*/ 345051 h 345708"/>
                <a:gd name="connsiteX32" fmla="*/ 962199 w 1769954"/>
                <a:gd name="connsiteY32" fmla="*/ 340450 h 345708"/>
                <a:gd name="connsiteX33" fmla="*/ 962199 w 1769954"/>
                <a:gd name="connsiteY33" fmla="*/ 285242 h 345708"/>
                <a:gd name="connsiteX34" fmla="*/ 926708 w 1769954"/>
                <a:gd name="connsiteY34" fmla="*/ 286556 h 345708"/>
                <a:gd name="connsiteX35" fmla="*/ 908963 w 1769954"/>
                <a:gd name="connsiteY35" fmla="*/ 248437 h 345708"/>
                <a:gd name="connsiteX36" fmla="*/ 908963 w 1769954"/>
                <a:gd name="connsiteY36" fmla="*/ 151165 h 345708"/>
                <a:gd name="connsiteX37" fmla="*/ 962856 w 1769954"/>
                <a:gd name="connsiteY37" fmla="*/ 151165 h 345708"/>
                <a:gd name="connsiteX38" fmla="*/ 962856 w 1769954"/>
                <a:gd name="connsiteY38" fmla="*/ 93328 h 345708"/>
                <a:gd name="connsiteX39" fmla="*/ 908963 w 1769954"/>
                <a:gd name="connsiteY39" fmla="*/ 93328 h 345708"/>
                <a:gd name="connsiteX40" fmla="*/ 908963 w 1769954"/>
                <a:gd name="connsiteY40" fmla="*/ 0 h 345708"/>
                <a:gd name="connsiteX41" fmla="*/ 816292 w 1769954"/>
                <a:gd name="connsiteY41" fmla="*/ 120932 h 345708"/>
                <a:gd name="connsiteX42" fmla="*/ 815635 w 1769954"/>
                <a:gd name="connsiteY42" fmla="*/ 260924 h 345708"/>
                <a:gd name="connsiteX43" fmla="*/ 1097591 w 1769954"/>
                <a:gd name="connsiteY43" fmla="*/ 92671 h 345708"/>
                <a:gd name="connsiteX44" fmla="*/ 1006234 w 1769954"/>
                <a:gd name="connsiteY44" fmla="*/ 92671 h 345708"/>
                <a:gd name="connsiteX45" fmla="*/ 1006234 w 1769954"/>
                <a:gd name="connsiteY45" fmla="*/ 337821 h 345708"/>
                <a:gd name="connsiteX46" fmla="*/ 1098905 w 1769954"/>
                <a:gd name="connsiteY46" fmla="*/ 337821 h 345708"/>
                <a:gd name="connsiteX47" fmla="*/ 1098905 w 1769954"/>
                <a:gd name="connsiteY47" fmla="*/ 239235 h 345708"/>
                <a:gd name="connsiteX48" fmla="*/ 1162657 w 1769954"/>
                <a:gd name="connsiteY48" fmla="*/ 162995 h 345708"/>
                <a:gd name="connsiteX49" fmla="*/ 1182374 w 1769954"/>
                <a:gd name="connsiteY49" fmla="*/ 163653 h 345708"/>
                <a:gd name="connsiteX50" fmla="*/ 1182374 w 1769954"/>
                <a:gd name="connsiteY50" fmla="*/ 85441 h 345708"/>
                <a:gd name="connsiteX51" fmla="*/ 1100219 w 1769954"/>
                <a:gd name="connsiteY51" fmla="*/ 138678 h 345708"/>
                <a:gd name="connsiteX52" fmla="*/ 1099562 w 1769954"/>
                <a:gd name="connsiteY52" fmla="*/ 138678 h 345708"/>
                <a:gd name="connsiteX53" fmla="*/ 1097591 w 1769954"/>
                <a:gd name="connsiteY53" fmla="*/ 92671 h 345708"/>
                <a:gd name="connsiteX54" fmla="*/ 1338140 w 1769954"/>
                <a:gd name="connsiteY54" fmla="*/ 85441 h 345708"/>
                <a:gd name="connsiteX55" fmla="*/ 1195519 w 1769954"/>
                <a:gd name="connsiteY55" fmla="*/ 215575 h 345708"/>
                <a:gd name="connsiteX56" fmla="*/ 1338140 w 1769954"/>
                <a:gd name="connsiteY56" fmla="*/ 345708 h 345708"/>
                <a:gd name="connsiteX57" fmla="*/ 1480761 w 1769954"/>
                <a:gd name="connsiteY57" fmla="*/ 215575 h 345708"/>
                <a:gd name="connsiteX58" fmla="*/ 1338140 w 1769954"/>
                <a:gd name="connsiteY58" fmla="*/ 85441 h 345708"/>
                <a:gd name="connsiteX59" fmla="*/ 1290819 w 1769954"/>
                <a:gd name="connsiteY59" fmla="*/ 215575 h 345708"/>
                <a:gd name="connsiteX60" fmla="*/ 1338140 w 1769954"/>
                <a:gd name="connsiteY60" fmla="*/ 139335 h 345708"/>
                <a:gd name="connsiteX61" fmla="*/ 1385461 w 1769954"/>
                <a:gd name="connsiteY61" fmla="*/ 215575 h 345708"/>
                <a:gd name="connsiteX62" fmla="*/ 1338140 w 1769954"/>
                <a:gd name="connsiteY62" fmla="*/ 291814 h 345708"/>
                <a:gd name="connsiteX63" fmla="*/ 1290819 w 1769954"/>
                <a:gd name="connsiteY63" fmla="*/ 215575 h 345708"/>
                <a:gd name="connsiteX64" fmla="*/ 1678590 w 1769954"/>
                <a:gd name="connsiteY64" fmla="*/ 85441 h 345708"/>
                <a:gd name="connsiteX65" fmla="*/ 1601693 w 1769954"/>
                <a:gd name="connsiteY65" fmla="*/ 119618 h 345708"/>
                <a:gd name="connsiteX66" fmla="*/ 1600379 w 1769954"/>
                <a:gd name="connsiteY66" fmla="*/ 92671 h 345708"/>
                <a:gd name="connsiteX67" fmla="*/ 1509023 w 1769954"/>
                <a:gd name="connsiteY67" fmla="*/ 92671 h 345708"/>
                <a:gd name="connsiteX68" fmla="*/ 1509023 w 1769954"/>
                <a:gd name="connsiteY68" fmla="*/ 337821 h 345708"/>
                <a:gd name="connsiteX69" fmla="*/ 1601693 w 1769954"/>
                <a:gd name="connsiteY69" fmla="*/ 337821 h 345708"/>
                <a:gd name="connsiteX70" fmla="*/ 1601693 w 1769954"/>
                <a:gd name="connsiteY70" fmla="*/ 197829 h 345708"/>
                <a:gd name="connsiteX71" fmla="*/ 1641785 w 1769954"/>
                <a:gd name="connsiteY71" fmla="*/ 144593 h 345708"/>
                <a:gd name="connsiteX72" fmla="*/ 1677276 w 1769954"/>
                <a:gd name="connsiteY72" fmla="*/ 194543 h 345708"/>
                <a:gd name="connsiteX73" fmla="*/ 1677276 w 1769954"/>
                <a:gd name="connsiteY73" fmla="*/ 338478 h 345708"/>
                <a:gd name="connsiteX74" fmla="*/ 1769947 w 1769954"/>
                <a:gd name="connsiteY74" fmla="*/ 338478 h 345708"/>
                <a:gd name="connsiteX75" fmla="*/ 1769947 w 1769954"/>
                <a:gd name="connsiteY75" fmla="*/ 174169 h 345708"/>
                <a:gd name="connsiteX76" fmla="*/ 1678590 w 1769954"/>
                <a:gd name="connsiteY76" fmla="*/ 85441 h 345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769954" h="345708">
                  <a:moveTo>
                    <a:pt x="196515" y="92671"/>
                  </a:moveTo>
                  <a:lnTo>
                    <a:pt x="99243" y="217546"/>
                  </a:lnTo>
                  <a:lnTo>
                    <a:pt x="194543" y="338478"/>
                  </a:lnTo>
                  <a:lnTo>
                    <a:pt x="84784" y="338478"/>
                  </a:lnTo>
                  <a:lnTo>
                    <a:pt x="0" y="217546"/>
                  </a:lnTo>
                  <a:lnTo>
                    <a:pt x="95300" y="93328"/>
                  </a:lnTo>
                  <a:lnTo>
                    <a:pt x="196515" y="92671"/>
                  </a:lnTo>
                  <a:close/>
                  <a:moveTo>
                    <a:pt x="338478" y="85441"/>
                  </a:moveTo>
                  <a:cubicBezTo>
                    <a:pt x="261581" y="85441"/>
                    <a:pt x="195857" y="124876"/>
                    <a:pt x="195857" y="215575"/>
                  </a:cubicBezTo>
                  <a:cubicBezTo>
                    <a:pt x="195857" y="306274"/>
                    <a:pt x="261581" y="345708"/>
                    <a:pt x="338478" y="345708"/>
                  </a:cubicBezTo>
                  <a:cubicBezTo>
                    <a:pt x="415376" y="345708"/>
                    <a:pt x="481100" y="306274"/>
                    <a:pt x="481100" y="215575"/>
                  </a:cubicBezTo>
                  <a:cubicBezTo>
                    <a:pt x="481757" y="125533"/>
                    <a:pt x="415376" y="85441"/>
                    <a:pt x="338478" y="85441"/>
                  </a:cubicBezTo>
                  <a:close/>
                  <a:moveTo>
                    <a:pt x="291157" y="215575"/>
                  </a:moveTo>
                  <a:cubicBezTo>
                    <a:pt x="291157" y="180741"/>
                    <a:pt x="299701" y="139335"/>
                    <a:pt x="338478" y="139335"/>
                  </a:cubicBezTo>
                  <a:cubicBezTo>
                    <a:pt x="377256" y="139335"/>
                    <a:pt x="385800" y="180741"/>
                    <a:pt x="385800" y="215575"/>
                  </a:cubicBezTo>
                  <a:cubicBezTo>
                    <a:pt x="385800" y="250408"/>
                    <a:pt x="377256" y="291814"/>
                    <a:pt x="338478" y="291814"/>
                  </a:cubicBezTo>
                  <a:cubicBezTo>
                    <a:pt x="299701" y="291814"/>
                    <a:pt x="291157" y="250408"/>
                    <a:pt x="291157" y="215575"/>
                  </a:cubicBezTo>
                  <a:close/>
                  <a:moveTo>
                    <a:pt x="683529" y="85441"/>
                  </a:moveTo>
                  <a:cubicBezTo>
                    <a:pt x="651982" y="85441"/>
                    <a:pt x="627664" y="95300"/>
                    <a:pt x="606632" y="119618"/>
                  </a:cubicBezTo>
                  <a:lnTo>
                    <a:pt x="605318" y="92671"/>
                  </a:lnTo>
                  <a:lnTo>
                    <a:pt x="513962" y="92671"/>
                  </a:lnTo>
                  <a:lnTo>
                    <a:pt x="513962" y="337821"/>
                  </a:lnTo>
                  <a:lnTo>
                    <a:pt x="606632" y="337821"/>
                  </a:lnTo>
                  <a:lnTo>
                    <a:pt x="606632" y="197172"/>
                  </a:lnTo>
                  <a:cubicBezTo>
                    <a:pt x="606632" y="194543"/>
                    <a:pt x="600717" y="143935"/>
                    <a:pt x="646724" y="143935"/>
                  </a:cubicBezTo>
                  <a:cubicBezTo>
                    <a:pt x="675643" y="143935"/>
                    <a:pt x="681558" y="169568"/>
                    <a:pt x="682215" y="193886"/>
                  </a:cubicBezTo>
                  <a:lnTo>
                    <a:pt x="682215" y="337821"/>
                  </a:lnTo>
                  <a:lnTo>
                    <a:pt x="774886" y="337821"/>
                  </a:lnTo>
                  <a:lnTo>
                    <a:pt x="774886" y="173511"/>
                  </a:lnTo>
                  <a:cubicBezTo>
                    <a:pt x="774886" y="119618"/>
                    <a:pt x="736109" y="85441"/>
                    <a:pt x="683529" y="85441"/>
                  </a:cubicBezTo>
                  <a:close/>
                  <a:moveTo>
                    <a:pt x="815635" y="260924"/>
                  </a:moveTo>
                  <a:cubicBezTo>
                    <a:pt x="811034" y="336507"/>
                    <a:pt x="849154" y="345051"/>
                    <a:pt x="912249" y="345051"/>
                  </a:cubicBezTo>
                  <a:cubicBezTo>
                    <a:pt x="926051" y="345051"/>
                    <a:pt x="941167" y="344394"/>
                    <a:pt x="962199" y="340450"/>
                  </a:cubicBezTo>
                  <a:lnTo>
                    <a:pt x="962199" y="285242"/>
                  </a:lnTo>
                  <a:cubicBezTo>
                    <a:pt x="951683" y="286556"/>
                    <a:pt x="938538" y="286556"/>
                    <a:pt x="926708" y="286556"/>
                  </a:cubicBezTo>
                  <a:cubicBezTo>
                    <a:pt x="905019" y="286556"/>
                    <a:pt x="908963" y="255009"/>
                    <a:pt x="908963" y="248437"/>
                  </a:cubicBezTo>
                  <a:lnTo>
                    <a:pt x="908963" y="151165"/>
                  </a:lnTo>
                  <a:lnTo>
                    <a:pt x="962856" y="151165"/>
                  </a:lnTo>
                  <a:lnTo>
                    <a:pt x="962856" y="93328"/>
                  </a:lnTo>
                  <a:lnTo>
                    <a:pt x="908963" y="93328"/>
                  </a:lnTo>
                  <a:lnTo>
                    <a:pt x="908963" y="0"/>
                  </a:lnTo>
                  <a:lnTo>
                    <a:pt x="816292" y="120932"/>
                  </a:lnTo>
                  <a:lnTo>
                    <a:pt x="815635" y="260924"/>
                  </a:lnTo>
                  <a:close/>
                  <a:moveTo>
                    <a:pt x="1097591" y="92671"/>
                  </a:moveTo>
                  <a:lnTo>
                    <a:pt x="1006234" y="92671"/>
                  </a:lnTo>
                  <a:lnTo>
                    <a:pt x="1006234" y="337821"/>
                  </a:lnTo>
                  <a:lnTo>
                    <a:pt x="1098905" y="337821"/>
                  </a:lnTo>
                  <a:lnTo>
                    <a:pt x="1098905" y="239235"/>
                  </a:lnTo>
                  <a:cubicBezTo>
                    <a:pt x="1097591" y="192571"/>
                    <a:pt x="1114022" y="163653"/>
                    <a:pt x="1162657" y="162995"/>
                  </a:cubicBezTo>
                  <a:cubicBezTo>
                    <a:pt x="1169230" y="162995"/>
                    <a:pt x="1175145" y="162995"/>
                    <a:pt x="1182374" y="163653"/>
                  </a:cubicBezTo>
                  <a:lnTo>
                    <a:pt x="1182374" y="85441"/>
                  </a:lnTo>
                  <a:cubicBezTo>
                    <a:pt x="1141626" y="84784"/>
                    <a:pt x="1110735" y="97929"/>
                    <a:pt x="1100219" y="138678"/>
                  </a:cubicBezTo>
                  <a:lnTo>
                    <a:pt x="1099562" y="138678"/>
                  </a:lnTo>
                  <a:lnTo>
                    <a:pt x="1097591" y="92671"/>
                  </a:lnTo>
                  <a:close/>
                  <a:moveTo>
                    <a:pt x="1338140" y="85441"/>
                  </a:moveTo>
                  <a:cubicBezTo>
                    <a:pt x="1261243" y="85441"/>
                    <a:pt x="1195519" y="124876"/>
                    <a:pt x="1195519" y="215575"/>
                  </a:cubicBezTo>
                  <a:cubicBezTo>
                    <a:pt x="1195519" y="306274"/>
                    <a:pt x="1261243" y="345708"/>
                    <a:pt x="1338140" y="345708"/>
                  </a:cubicBezTo>
                  <a:cubicBezTo>
                    <a:pt x="1415037" y="345708"/>
                    <a:pt x="1480761" y="306274"/>
                    <a:pt x="1480761" y="215575"/>
                  </a:cubicBezTo>
                  <a:cubicBezTo>
                    <a:pt x="1480761" y="124876"/>
                    <a:pt x="1414380" y="85441"/>
                    <a:pt x="1338140" y="85441"/>
                  </a:cubicBezTo>
                  <a:close/>
                  <a:moveTo>
                    <a:pt x="1290819" y="215575"/>
                  </a:moveTo>
                  <a:cubicBezTo>
                    <a:pt x="1290819" y="180741"/>
                    <a:pt x="1299363" y="139335"/>
                    <a:pt x="1338140" y="139335"/>
                  </a:cubicBezTo>
                  <a:cubicBezTo>
                    <a:pt x="1376917" y="139335"/>
                    <a:pt x="1385461" y="180741"/>
                    <a:pt x="1385461" y="215575"/>
                  </a:cubicBezTo>
                  <a:cubicBezTo>
                    <a:pt x="1385461" y="250408"/>
                    <a:pt x="1376917" y="291814"/>
                    <a:pt x="1338140" y="291814"/>
                  </a:cubicBezTo>
                  <a:cubicBezTo>
                    <a:pt x="1298706" y="291814"/>
                    <a:pt x="1290819" y="250408"/>
                    <a:pt x="1290819" y="215575"/>
                  </a:cubicBezTo>
                  <a:close/>
                  <a:moveTo>
                    <a:pt x="1678590" y="85441"/>
                  </a:moveTo>
                  <a:cubicBezTo>
                    <a:pt x="1647043" y="85441"/>
                    <a:pt x="1622725" y="95300"/>
                    <a:pt x="1601693" y="119618"/>
                  </a:cubicBezTo>
                  <a:lnTo>
                    <a:pt x="1600379" y="92671"/>
                  </a:lnTo>
                  <a:lnTo>
                    <a:pt x="1509023" y="92671"/>
                  </a:lnTo>
                  <a:lnTo>
                    <a:pt x="1509023" y="337821"/>
                  </a:lnTo>
                  <a:lnTo>
                    <a:pt x="1601693" y="337821"/>
                  </a:lnTo>
                  <a:lnTo>
                    <a:pt x="1601693" y="197829"/>
                  </a:lnTo>
                  <a:cubicBezTo>
                    <a:pt x="1601693" y="195200"/>
                    <a:pt x="1595778" y="144593"/>
                    <a:pt x="1641785" y="144593"/>
                  </a:cubicBezTo>
                  <a:cubicBezTo>
                    <a:pt x="1670704" y="144593"/>
                    <a:pt x="1676619" y="170225"/>
                    <a:pt x="1677276" y="194543"/>
                  </a:cubicBezTo>
                  <a:lnTo>
                    <a:pt x="1677276" y="338478"/>
                  </a:lnTo>
                  <a:lnTo>
                    <a:pt x="1769947" y="338478"/>
                  </a:lnTo>
                  <a:lnTo>
                    <a:pt x="1769947" y="174169"/>
                  </a:lnTo>
                  <a:cubicBezTo>
                    <a:pt x="1770604" y="119618"/>
                    <a:pt x="1731170" y="85441"/>
                    <a:pt x="1678590" y="85441"/>
                  </a:cubicBezTo>
                  <a:close/>
                </a:path>
              </a:pathLst>
            </a:custGeom>
            <a:solidFill>
              <a:schemeClr val="accent1"/>
            </a:solidFill>
            <a:ln w="6540"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196892583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2" r:id="rId4"/>
    <p:sldLayoutId id="2147483650" r:id="rId5"/>
    <p:sldLayoutId id="2147483680" r:id="rId6"/>
    <p:sldLayoutId id="2147483681" r:id="rId7"/>
    <p:sldLayoutId id="2147483663" r:id="rId8"/>
    <p:sldLayoutId id="2147483683" r:id="rId9"/>
    <p:sldLayoutId id="2147483684" r:id="rId10"/>
    <p:sldLayoutId id="2147483664" r:id="rId11"/>
    <p:sldLayoutId id="2147483685" r:id="rId12"/>
    <p:sldLayoutId id="2147483686" r:id="rId13"/>
    <p:sldLayoutId id="2147483665" r:id="rId14"/>
    <p:sldLayoutId id="2147483687" r:id="rId15"/>
    <p:sldLayoutId id="2147483688" r:id="rId16"/>
    <p:sldLayoutId id="2147483666" r:id="rId17"/>
    <p:sldLayoutId id="2147483689" r:id="rId18"/>
    <p:sldLayoutId id="2147483690" r:id="rId19"/>
    <p:sldLayoutId id="2147483667" r:id="rId20"/>
    <p:sldLayoutId id="2147483677" r:id="rId21"/>
    <p:sldLayoutId id="2147483678" r:id="rId22"/>
    <p:sldLayoutId id="2147483651" r:id="rId23"/>
    <p:sldLayoutId id="2147483668" r:id="rId24"/>
    <p:sldLayoutId id="2147483669" r:id="rId25"/>
    <p:sldLayoutId id="2147483670" r:id="rId26"/>
    <p:sldLayoutId id="2147483675" r:id="rId27"/>
    <p:sldLayoutId id="2147483676" r:id="rId28"/>
    <p:sldLayoutId id="2147483671" r:id="rId29"/>
    <p:sldLayoutId id="2147483672" r:id="rId30"/>
    <p:sldLayoutId id="2147483673" r:id="rId31"/>
    <p:sldLayoutId id="2147483691" r:id="rId32"/>
    <p:sldLayoutId id="2147483692" r:id="rId33"/>
    <p:sldLayoutId id="2147483693" r:id="rId34"/>
    <p:sldLayoutId id="2147483694" r:id="rId35"/>
  </p:sldLayoutIdLst>
  <p:hf hdr="0" dt="0"/>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216000" indent="-216000" algn="l" defTabSz="914400" rtl="0" eaLnBrk="1" latinLnBrk="0" hangingPunct="1">
        <a:lnSpc>
          <a:spcPct val="100000"/>
        </a:lnSpc>
        <a:spcBef>
          <a:spcPts val="300"/>
        </a:spcBef>
        <a:buClr>
          <a:schemeClr val="accent1"/>
        </a:buClr>
        <a:buFont typeface="Calibri Light" panose="020F0302020204030204" pitchFamily="34" charset="0"/>
        <a:buChar char="›"/>
        <a:defRPr sz="20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buClr>
          <a:schemeClr val="accent1"/>
        </a:buClr>
        <a:buFont typeface="Calibri Light" panose="020F030202020403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buClr>
          <a:schemeClr val="accent1"/>
        </a:buClr>
        <a:buFont typeface="Calibri Light" panose="020F030202020403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buClr>
          <a:schemeClr val="accent1"/>
        </a:buClr>
        <a:buFont typeface="Calibri Light" panose="020F0302020204030204" pitchFamily="34" charset="0"/>
        <a:buChar char="›"/>
        <a:defRPr sz="14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buClr>
          <a:schemeClr val="accent1"/>
        </a:buClr>
        <a:buFont typeface="Calibri Light" panose="020F030202020403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7242" userDrawn="1">
          <p15:clr>
            <a:srgbClr val="F26B43"/>
          </p15:clr>
        </p15:guide>
        <p15:guide id="4" orient="horz" pos="1026" userDrawn="1">
          <p15:clr>
            <a:srgbClr val="F26B43"/>
          </p15:clr>
        </p15:guide>
        <p15:guide id="5" orient="horz" pos="3929" userDrawn="1">
          <p15:clr>
            <a:srgbClr val="F26B43"/>
          </p15:clr>
        </p15:guide>
        <p15:guide id="6" orient="horz" pos="232" userDrawn="1">
          <p15:clr>
            <a:srgbClr val="F26B43"/>
          </p15:clr>
        </p15:guide>
        <p15:guide id="7" pos="43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1.xml"/><Relationship Id="rId1" Type="http://schemas.openxmlformats.org/officeDocument/2006/relationships/tags" Target="../tags/tag40.xml"/><Relationship Id="rId6" Type="http://schemas.openxmlformats.org/officeDocument/2006/relationships/image" Target="../media/image6.jpg"/><Relationship Id="rId5" Type="http://schemas.openxmlformats.org/officeDocument/2006/relationships/image" Target="../media/image5.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6.jpg"/><Relationship Id="rId1" Type="http://schemas.openxmlformats.org/officeDocument/2006/relationships/slideLayout" Target="../slideLayouts/slideLayout35.xml"/><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jpg"/><Relationship Id="rId1" Type="http://schemas.openxmlformats.org/officeDocument/2006/relationships/slideLayout" Target="../slideLayouts/slideLayout35.xml"/><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jpg"/><Relationship Id="rId1" Type="http://schemas.openxmlformats.org/officeDocument/2006/relationships/slideLayout" Target="../slideLayouts/slideLayout35.xml"/><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6.jpg"/><Relationship Id="rId1" Type="http://schemas.openxmlformats.org/officeDocument/2006/relationships/slideLayout" Target="../slideLayouts/slideLayout35.xml"/><Relationship Id="rId4" Type="http://schemas.openxmlformats.org/officeDocument/2006/relationships/image" Target="../media/image7.png"/></Relationships>
</file>

<file path=ppt/slides/_rels/slide1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13.png"/><Relationship Id="rId1" Type="http://schemas.openxmlformats.org/officeDocument/2006/relationships/slideLayout" Target="../slideLayouts/slideLayout35.xml"/><Relationship Id="rId4" Type="http://schemas.openxmlformats.org/officeDocument/2006/relationships/image" Target="../media/image7.png"/></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jpg"/><Relationship Id="rId1" Type="http://schemas.openxmlformats.org/officeDocument/2006/relationships/slideLayout" Target="../slideLayouts/slideLayout35.xml"/><Relationship Id="rId4" Type="http://schemas.openxmlformats.org/officeDocument/2006/relationships/image" Target="../media/image7.png"/></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jpg"/><Relationship Id="rId1" Type="http://schemas.openxmlformats.org/officeDocument/2006/relationships/slideLayout" Target="../slideLayouts/slideLayout35.xml"/><Relationship Id="rId4" Type="http://schemas.openxmlformats.org/officeDocument/2006/relationships/image" Target="../media/image7.png"/></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6.jpg"/><Relationship Id="rId1" Type="http://schemas.openxmlformats.org/officeDocument/2006/relationships/slideLayout" Target="../slideLayouts/slideLayout35.xml"/><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35.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8" Type="http://schemas.openxmlformats.org/officeDocument/2006/relationships/image" Target="../media/image6.jpg"/><Relationship Id="rId3" Type="http://schemas.openxmlformats.org/officeDocument/2006/relationships/hyperlink" Target="https://kontron.hu/blog/ipari-halozatok-a-kibertamadok-csemegeje/" TargetMode="External"/><Relationship Id="rId7" Type="http://schemas.openxmlformats.org/officeDocument/2006/relationships/hyperlink" Target="https://kontron.hu/blog/industry-40-network-visibility-and-protection-with-keysight-and-nozomi-devices/" TargetMode="External"/><Relationship Id="rId2" Type="http://schemas.openxmlformats.org/officeDocument/2006/relationships/hyperlink" Target="https://kontron.hu/blog/ipari-es-gyarto-rendszerek-informatikai-biztonsaga-operational-technology-security/" TargetMode="External"/><Relationship Id="rId1" Type="http://schemas.openxmlformats.org/officeDocument/2006/relationships/slideLayout" Target="../slideLayouts/slideLayout35.xml"/><Relationship Id="rId6" Type="http://schemas.openxmlformats.org/officeDocument/2006/relationships/hyperlink" Target="https://eur04.safelinks.protection.outlook.com/?url=https%3A%2F%2Fsnt.hu%2Fblog%2Findustry-40-network-visibility-and-protection-with-keysight-and-nozomi-devices%2F&amp;data=05%7C01%7CGyorgy.Piszker%40snt.hu%7C3026e8d9469a4aa0012f08da43d48659%7C8c9d3c973fd941c8a2b1646f3942daf1%7C0%7C0%7C637896877365593550%7CUnknown%7CTWFpbGZsb3d8eyJWIjoiMC4wLjAwMDAiLCJQIjoiV2luMzIiLCJBTiI6Ik1haWwiLCJXVCI6Mn0%3D%7C3000%7C%7C%7C&amp;sdata=WYisp7iIRwKoroJAej%2BG88z5YugIp4AkDx1%2FpzhMIgQ%3D&amp;reserved=0" TargetMode="External"/><Relationship Id="rId5" Type="http://schemas.openxmlformats.org/officeDocument/2006/relationships/hyperlink" Target="https://kontron.hu/blog/ipari-halozatok-atlathatosaga-es-vedelme-ixia-es-nozomi-eszkozokkel/" TargetMode="External"/><Relationship Id="rId4" Type="http://schemas.openxmlformats.org/officeDocument/2006/relationships/hyperlink" Target="https://eur04.safelinks.protection.outlook.com/?url=https%3A%2F%2Fsnt.hu%2Fblog%2Fipari-halozatok-atlathatosaga-es-vedelme-ixia-es-nozomi-eszkozokkel%2F&amp;data=05%7C01%7CGyorgy.Piszker%40snt.hu%7C3026e8d9469a4aa0012f08da43d48659%7C8c9d3c973fd941c8a2b1646f3942daf1%7C0%7C0%7C637896877365593550%7CUnknown%7CTWFpbGZsb3d8eyJWIjoiMC4wLjAwMDAiLCJQIjoiV2luMzIiLCJBTiI6Ik1haWwiLCJXVCI6Mn0%3D%7C3000%7C%7C%7C&amp;sdata=VabowHPXh5UmDd1eV8QzzRxDicwheY7Kd6TuGBGQqSg%3D&amp;reserved=0" TargetMode="External"/><Relationship Id="rId9" Type="http://schemas.openxmlformats.org/officeDocument/2006/relationships/image" Target="../media/image7.png"/></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32.xml"/><Relationship Id="rId1" Type="http://schemas.openxmlformats.org/officeDocument/2006/relationships/tags" Target="../tags/tag41.xml"/><Relationship Id="rId6" Type="http://schemas.openxmlformats.org/officeDocument/2006/relationships/hyperlink" Target="mailto:kontron@kontron.hu" TargetMode="External"/><Relationship Id="rId5" Type="http://schemas.openxmlformats.org/officeDocument/2006/relationships/image" Target="../media/image6.jp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34.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2.xml"/><Relationship Id="rId1" Type="http://schemas.openxmlformats.org/officeDocument/2006/relationships/slideLayout" Target="../slideLayouts/slideLayout34.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xml"/><Relationship Id="rId1" Type="http://schemas.openxmlformats.org/officeDocument/2006/relationships/slideLayout" Target="../slideLayouts/slideLayout34.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jpg"/><Relationship Id="rId1" Type="http://schemas.openxmlformats.org/officeDocument/2006/relationships/slideLayout" Target="../slideLayouts/slideLayout35.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1CE7D15-1785-4FC8-2653-0A0A8AE0E6F1}"/>
              </a:ext>
            </a:extLst>
          </p:cNvPr>
          <p:cNvGraphicFramePr>
            <a:graphicFrameLocks noChangeAspect="1"/>
          </p:cNvGraphicFramePr>
          <p:nvPr>
            <p:custDataLst>
              <p:tags r:id="rId1"/>
            </p:custDataLst>
            <p:extLst>
              <p:ext uri="{D42A27DB-BD31-4B8C-83A1-F6EECF244321}">
                <p14:modId xmlns:p14="http://schemas.microsoft.com/office/powerpoint/2010/main" val="440400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think-cell data - do not delete" hidden="1">
                        <a:extLst>
                          <a:ext uri="{FF2B5EF4-FFF2-40B4-BE49-F238E27FC236}">
                            <a16:creationId xmlns:a16="http://schemas.microsoft.com/office/drawing/2014/main" id="{81CE7D15-1785-4FC8-2653-0A0A8AE0E6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4" name="Bildplatzhalter 73" descr="Ein Bild, das drinnen, silbern enthält.&#10;&#10;Automatisch generierte Beschreibung">
            <a:extLst>
              <a:ext uri="{FF2B5EF4-FFF2-40B4-BE49-F238E27FC236}">
                <a16:creationId xmlns:a16="http://schemas.microsoft.com/office/drawing/2014/main" id="{01C5BFB6-FD42-9CEC-F450-7E976DA2EBEE}"/>
              </a:ext>
            </a:extLst>
          </p:cNvPr>
          <p:cNvPicPr>
            <a:picLocks noGrp="1" noChangeAspect="1"/>
          </p:cNvPicPr>
          <p:nvPr>
            <p:ph type="pic" sz="quarter" idx="10"/>
          </p:nvPr>
        </p:nvPicPr>
        <p:blipFill rotWithShape="1">
          <a:blip r:embed="rId5">
            <a:extLst>
              <a:ext uri="{28A0092B-C50C-407E-A947-70E740481C1C}">
                <a14:useLocalDpi xmlns:a14="http://schemas.microsoft.com/office/drawing/2010/main" val="0"/>
              </a:ext>
            </a:extLst>
          </a:blip>
          <a:srcRect l="31126" r="1960"/>
          <a:stretch/>
        </p:blipFill>
        <p:spPr>
          <a:xfrm>
            <a:off x="4033865" y="0"/>
            <a:ext cx="8158134" cy="6858000"/>
          </a:xfrm>
        </p:spPr>
      </p:pic>
      <p:sp>
        <p:nvSpPr>
          <p:cNvPr id="76" name="Titel 75">
            <a:extLst>
              <a:ext uri="{FF2B5EF4-FFF2-40B4-BE49-F238E27FC236}">
                <a16:creationId xmlns:a16="http://schemas.microsoft.com/office/drawing/2014/main" id="{0D77A935-C444-DFC5-4D01-11FFBA9D4E13}"/>
              </a:ext>
            </a:extLst>
          </p:cNvPr>
          <p:cNvSpPr>
            <a:spLocks noGrp="1"/>
          </p:cNvSpPr>
          <p:nvPr>
            <p:ph type="ctrTitle"/>
          </p:nvPr>
        </p:nvSpPr>
        <p:spPr>
          <a:xfrm>
            <a:off x="491428" y="3231932"/>
            <a:ext cx="4206010" cy="941796"/>
          </a:xfrm>
        </p:spPr>
        <p:txBody>
          <a:bodyPr vert="horz"/>
          <a:lstStyle/>
          <a:p>
            <a:pPr algn="ctr"/>
            <a:r>
              <a:rPr lang="hu-HU" dirty="0">
                <a:effectLst/>
                <a:latin typeface="Calibri" panose="020F0502020204030204" pitchFamily="34" charset="0"/>
                <a:ea typeface="Times New Roman" panose="02020603050405020304" pitchFamily="18" charset="0"/>
                <a:cs typeface="Times New Roman" panose="02020603050405020304" pitchFamily="18" charset="0"/>
              </a:rPr>
              <a:t>Az OT security kihívásai </a:t>
            </a:r>
            <a:br>
              <a:rPr lang="hu-HU" dirty="0">
                <a:effectLst/>
                <a:latin typeface="Calibri" panose="020F0502020204030204" pitchFamily="34" charset="0"/>
                <a:ea typeface="Times New Roman" panose="02020603050405020304" pitchFamily="18" charset="0"/>
                <a:cs typeface="Times New Roman" panose="02020603050405020304" pitchFamily="18" charset="0"/>
              </a:rPr>
            </a:br>
            <a:r>
              <a:rPr lang="hu-HU" sz="1800" dirty="0">
                <a:effectLst/>
                <a:latin typeface="Calibri" panose="020F0502020204030204" pitchFamily="34" charset="0"/>
                <a:ea typeface="Times New Roman" panose="02020603050405020304" pitchFamily="18" charset="0"/>
                <a:cs typeface="Times New Roman" panose="02020603050405020304" pitchFamily="18" charset="0"/>
              </a:rPr>
              <a:t>esettanulmány egy megvalósított implementáción keresztül</a:t>
            </a:r>
            <a:endParaRPr lang="en-US" dirty="0"/>
          </a:p>
        </p:txBody>
      </p:sp>
      <p:sp>
        <p:nvSpPr>
          <p:cNvPr id="77" name="Untertitel 76">
            <a:extLst>
              <a:ext uri="{FF2B5EF4-FFF2-40B4-BE49-F238E27FC236}">
                <a16:creationId xmlns:a16="http://schemas.microsoft.com/office/drawing/2014/main" id="{A9459733-055C-3ACB-C996-D5F46DDE6709}"/>
              </a:ext>
            </a:extLst>
          </p:cNvPr>
          <p:cNvSpPr>
            <a:spLocks noGrp="1"/>
          </p:cNvSpPr>
          <p:nvPr>
            <p:ph type="subTitle" idx="1"/>
          </p:nvPr>
        </p:nvSpPr>
        <p:spPr>
          <a:xfrm>
            <a:off x="1511300" y="4780278"/>
            <a:ext cx="3186140" cy="1000274"/>
          </a:xfrm>
        </p:spPr>
        <p:txBody>
          <a:bodyPr/>
          <a:lstStyle/>
          <a:p>
            <a:r>
              <a:rPr lang="hu-HU" dirty="0"/>
              <a:t>Piszker György MBA, CISSP</a:t>
            </a:r>
          </a:p>
          <a:p>
            <a:r>
              <a:rPr lang="hu-HU" dirty="0"/>
              <a:t>Kontron Hungary</a:t>
            </a:r>
          </a:p>
          <a:p>
            <a:r>
              <a:rPr lang="hu-HU" dirty="0"/>
              <a:t>Rendszer </a:t>
            </a:r>
            <a:r>
              <a:rPr lang="hu-HU" dirty="0" err="1"/>
              <a:t>Architect</a:t>
            </a:r>
            <a:r>
              <a:rPr lang="hu-HU" dirty="0"/>
              <a:t> vezető</a:t>
            </a:r>
            <a:endParaRPr lang="en-US" dirty="0"/>
          </a:p>
        </p:txBody>
      </p:sp>
      <p:sp>
        <p:nvSpPr>
          <p:cNvPr id="6" name="Textplatzhalter 5">
            <a:extLst>
              <a:ext uri="{FF2B5EF4-FFF2-40B4-BE49-F238E27FC236}">
                <a16:creationId xmlns:a16="http://schemas.microsoft.com/office/drawing/2014/main" id="{DE2A37CE-BA0C-0267-2F80-4DC5D7535E54}"/>
              </a:ext>
            </a:extLst>
          </p:cNvPr>
          <p:cNvSpPr>
            <a:spLocks noGrp="1"/>
          </p:cNvSpPr>
          <p:nvPr>
            <p:ph type="body" sz="quarter" idx="11"/>
          </p:nvPr>
        </p:nvSpPr>
        <p:spPr>
          <a:xfrm>
            <a:off x="4697439" y="748144"/>
            <a:ext cx="6565265" cy="6109855"/>
          </a:xfrm>
        </p:spPr>
        <p:txBody>
          <a:bodyPr/>
          <a:lstStyle/>
          <a:p>
            <a:endParaRPr lang="en-US" dirty="0"/>
          </a:p>
        </p:txBody>
      </p:sp>
      <p:pic>
        <p:nvPicPr>
          <p:cNvPr id="3" name="Picture 2" descr="A picture containing electric blue, text, majorelle blue, blue">
            <a:extLst>
              <a:ext uri="{FF2B5EF4-FFF2-40B4-BE49-F238E27FC236}">
                <a16:creationId xmlns:a16="http://schemas.microsoft.com/office/drawing/2014/main" id="{8810C995-B025-94D8-B489-FF7D3020CBD5}"/>
              </a:ext>
            </a:extLst>
          </p:cNvPr>
          <p:cNvPicPr>
            <a:picLocks noChangeAspect="1"/>
          </p:cNvPicPr>
          <p:nvPr/>
        </p:nvPicPr>
        <p:blipFill>
          <a:blip r:embed="rId6"/>
          <a:stretch>
            <a:fillRect/>
          </a:stretch>
        </p:blipFill>
        <p:spPr>
          <a:xfrm>
            <a:off x="6299" y="1"/>
            <a:ext cx="12185701" cy="1579418"/>
          </a:xfrm>
          <a:prstGeom prst="rect">
            <a:avLst/>
          </a:prstGeom>
        </p:spPr>
      </p:pic>
    </p:spTree>
    <p:extLst>
      <p:ext uri="{BB962C8B-B14F-4D97-AF65-F5344CB8AC3E}">
        <p14:creationId xmlns:p14="http://schemas.microsoft.com/office/powerpoint/2010/main" val="37425911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3CC4D12-D26A-7D1B-04BB-422D9483B7F0}"/>
              </a:ext>
            </a:extLst>
          </p:cNvPr>
          <p:cNvSpPr>
            <a:spLocks noGrp="1"/>
          </p:cNvSpPr>
          <p:nvPr>
            <p:ph sz="quarter" idx="16"/>
          </p:nvPr>
        </p:nvSpPr>
        <p:spPr>
          <a:xfrm>
            <a:off x="368300" y="1543274"/>
            <a:ext cx="11226800" cy="497114"/>
          </a:xfrm>
        </p:spPr>
        <p:txBody>
          <a:bodyPr>
            <a:normAutofit lnSpcReduction="10000"/>
          </a:bodyPr>
          <a:lstStyle/>
          <a:p>
            <a:pPr marL="0" indent="0" algn="ctr">
              <a:buNone/>
            </a:pPr>
            <a:r>
              <a:rPr lang="hu-HU" sz="2800" dirty="0"/>
              <a:t>Jelenlegi Architectúra</a:t>
            </a:r>
          </a:p>
        </p:txBody>
      </p:sp>
      <p:sp>
        <p:nvSpPr>
          <p:cNvPr id="2" name="Slide Number Placeholder 1">
            <a:extLst>
              <a:ext uri="{FF2B5EF4-FFF2-40B4-BE49-F238E27FC236}">
                <a16:creationId xmlns:a16="http://schemas.microsoft.com/office/drawing/2014/main" id="{BA31EDC3-CDED-79A1-BB0A-1D5A24D5512E}"/>
              </a:ext>
            </a:extLst>
          </p:cNvPr>
          <p:cNvSpPr>
            <a:spLocks noGrp="1"/>
          </p:cNvSpPr>
          <p:nvPr>
            <p:ph type="sldNum" sz="quarter" idx="12"/>
          </p:nvPr>
        </p:nvSpPr>
        <p:spPr/>
        <p:txBody>
          <a:bodyPr/>
          <a:lstStyle/>
          <a:p>
            <a:fld id="{3C6863D3-0438-440B-9B18-903EFF5BE46F}" type="slidenum">
              <a:rPr lang="en-US" smtClean="0"/>
              <a:pPr/>
              <a:t>10</a:t>
            </a:fld>
            <a:endParaRPr lang="en-US" dirty="0"/>
          </a:p>
        </p:txBody>
      </p:sp>
      <p:sp>
        <p:nvSpPr>
          <p:cNvPr id="3" name="Text Placeholder 2">
            <a:extLst>
              <a:ext uri="{FF2B5EF4-FFF2-40B4-BE49-F238E27FC236}">
                <a16:creationId xmlns:a16="http://schemas.microsoft.com/office/drawing/2014/main" id="{B9F0F320-0EED-0575-57E7-343C32D71CA7}"/>
              </a:ext>
            </a:extLst>
          </p:cNvPr>
          <p:cNvSpPr>
            <a:spLocks noGrp="1"/>
          </p:cNvSpPr>
          <p:nvPr>
            <p:ph type="body" sz="quarter" idx="15"/>
          </p:nvPr>
        </p:nvSpPr>
        <p:spPr/>
        <p:txBody>
          <a:bodyPr/>
          <a:lstStyle/>
          <a:p>
            <a:endParaRPr lang="hu-HU"/>
          </a:p>
        </p:txBody>
      </p:sp>
      <p:sp>
        <p:nvSpPr>
          <p:cNvPr id="5" name="Text Placeholder 4">
            <a:extLst>
              <a:ext uri="{FF2B5EF4-FFF2-40B4-BE49-F238E27FC236}">
                <a16:creationId xmlns:a16="http://schemas.microsoft.com/office/drawing/2014/main" id="{44EA122D-609F-62AA-50BC-85BFD3222F42}"/>
              </a:ext>
            </a:extLst>
          </p:cNvPr>
          <p:cNvSpPr>
            <a:spLocks noGrp="1"/>
          </p:cNvSpPr>
          <p:nvPr>
            <p:ph type="body" sz="quarter" idx="14"/>
          </p:nvPr>
        </p:nvSpPr>
        <p:spPr/>
        <p:txBody>
          <a:bodyPr/>
          <a:lstStyle/>
          <a:p>
            <a:endParaRPr lang="hu-HU"/>
          </a:p>
        </p:txBody>
      </p:sp>
      <p:sp>
        <p:nvSpPr>
          <p:cNvPr id="6" name="Title 5">
            <a:extLst>
              <a:ext uri="{FF2B5EF4-FFF2-40B4-BE49-F238E27FC236}">
                <a16:creationId xmlns:a16="http://schemas.microsoft.com/office/drawing/2014/main" id="{AD0779B9-E3CF-E5C6-55E2-281207078576}"/>
              </a:ext>
            </a:extLst>
          </p:cNvPr>
          <p:cNvSpPr>
            <a:spLocks noGrp="1"/>
          </p:cNvSpPr>
          <p:nvPr>
            <p:ph type="title"/>
          </p:nvPr>
        </p:nvSpPr>
        <p:spPr/>
        <p:txBody>
          <a:bodyPr/>
          <a:lstStyle/>
          <a:p>
            <a:endParaRPr lang="hu-HU"/>
          </a:p>
        </p:txBody>
      </p:sp>
      <p:pic>
        <p:nvPicPr>
          <p:cNvPr id="7" name="Picture 6" descr="A picture containing electric blue, text, majorelle blue, blue">
            <a:extLst>
              <a:ext uri="{FF2B5EF4-FFF2-40B4-BE49-F238E27FC236}">
                <a16:creationId xmlns:a16="http://schemas.microsoft.com/office/drawing/2014/main" id="{9EE35D52-7446-48BA-2AC9-70773C45DFDD}"/>
              </a:ext>
            </a:extLst>
          </p:cNvPr>
          <p:cNvPicPr>
            <a:picLocks noChangeAspect="1"/>
          </p:cNvPicPr>
          <p:nvPr/>
        </p:nvPicPr>
        <p:blipFill>
          <a:blip r:embed="rId2"/>
          <a:stretch>
            <a:fillRect/>
          </a:stretch>
        </p:blipFill>
        <p:spPr>
          <a:xfrm>
            <a:off x="6299" y="1495"/>
            <a:ext cx="12185701" cy="1579418"/>
          </a:xfrm>
          <a:prstGeom prst="rect">
            <a:avLst/>
          </a:prstGeom>
        </p:spPr>
      </p:pic>
      <p:pic>
        <p:nvPicPr>
          <p:cNvPr id="17" name="Picture 16">
            <a:extLst>
              <a:ext uri="{FF2B5EF4-FFF2-40B4-BE49-F238E27FC236}">
                <a16:creationId xmlns:a16="http://schemas.microsoft.com/office/drawing/2014/main" id="{92992274-836B-D89D-8DA7-965F3638D3AF}"/>
              </a:ext>
            </a:extLst>
          </p:cNvPr>
          <p:cNvPicPr>
            <a:picLocks noChangeAspect="1"/>
          </p:cNvPicPr>
          <p:nvPr/>
        </p:nvPicPr>
        <p:blipFill>
          <a:blip r:embed="rId3"/>
          <a:stretch>
            <a:fillRect/>
          </a:stretch>
        </p:blipFill>
        <p:spPr>
          <a:xfrm>
            <a:off x="2371742" y="1959955"/>
            <a:ext cx="7239419" cy="4898045"/>
          </a:xfrm>
          <a:prstGeom prst="rect">
            <a:avLst/>
          </a:prstGeom>
        </p:spPr>
      </p:pic>
      <p:sp>
        <p:nvSpPr>
          <p:cNvPr id="18" name="TextBox 17">
            <a:extLst>
              <a:ext uri="{FF2B5EF4-FFF2-40B4-BE49-F238E27FC236}">
                <a16:creationId xmlns:a16="http://schemas.microsoft.com/office/drawing/2014/main" id="{026149FA-7DE9-9823-58F0-43A95B6841CC}"/>
              </a:ext>
            </a:extLst>
          </p:cNvPr>
          <p:cNvSpPr txBox="1"/>
          <p:nvPr/>
        </p:nvSpPr>
        <p:spPr>
          <a:xfrm>
            <a:off x="697149" y="1818909"/>
            <a:ext cx="2869964" cy="523220"/>
          </a:xfrm>
          <a:prstGeom prst="rect">
            <a:avLst/>
          </a:prstGeom>
          <a:noFill/>
        </p:spPr>
        <p:txBody>
          <a:bodyPr wrap="square" rtlCol="0">
            <a:spAutoFit/>
          </a:bodyPr>
          <a:lstStyle/>
          <a:p>
            <a:r>
              <a:rPr lang="hu-HU" sz="2800" dirty="0"/>
              <a:t>Javítandó pontok</a:t>
            </a:r>
          </a:p>
        </p:txBody>
      </p:sp>
      <p:sp>
        <p:nvSpPr>
          <p:cNvPr id="19" name="Oval 18">
            <a:extLst>
              <a:ext uri="{FF2B5EF4-FFF2-40B4-BE49-F238E27FC236}">
                <a16:creationId xmlns:a16="http://schemas.microsoft.com/office/drawing/2014/main" id="{C30570FF-1C5C-6CE1-3C33-4770F537B65D}"/>
              </a:ext>
            </a:extLst>
          </p:cNvPr>
          <p:cNvSpPr/>
          <p:nvPr/>
        </p:nvSpPr>
        <p:spPr>
          <a:xfrm>
            <a:off x="161926" y="2351762"/>
            <a:ext cx="3238500" cy="1007388"/>
          </a:xfrm>
          <a:prstGeom prst="ellipse">
            <a:avLst/>
          </a:prstGeom>
          <a:solidFill>
            <a:srgbClr val="253D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hu-HU" sz="2000" dirty="0"/>
              <a:t>Irodai és OT hálózat szegmentációja</a:t>
            </a:r>
          </a:p>
          <a:p>
            <a:pPr algn="l"/>
            <a:endParaRPr lang="hu-HU" sz="2000" dirty="0">
              <a:solidFill>
                <a:schemeClr val="tx1"/>
              </a:solidFill>
            </a:endParaRPr>
          </a:p>
        </p:txBody>
      </p:sp>
      <p:sp>
        <p:nvSpPr>
          <p:cNvPr id="21" name="Oval 20">
            <a:extLst>
              <a:ext uri="{FF2B5EF4-FFF2-40B4-BE49-F238E27FC236}">
                <a16:creationId xmlns:a16="http://schemas.microsoft.com/office/drawing/2014/main" id="{AE2FB5A2-1DB6-C078-E27C-E5A1D7E6029E}"/>
              </a:ext>
            </a:extLst>
          </p:cNvPr>
          <p:cNvSpPr/>
          <p:nvPr/>
        </p:nvSpPr>
        <p:spPr>
          <a:xfrm>
            <a:off x="190502" y="4207769"/>
            <a:ext cx="3571874" cy="1007388"/>
          </a:xfrm>
          <a:prstGeom prst="ellipse">
            <a:avLst/>
          </a:prstGeom>
          <a:solidFill>
            <a:srgbClr val="253D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hu-HU" sz="2000" dirty="0"/>
              <a:t>MGMT konzolok távoli elérés hardening-je</a:t>
            </a:r>
          </a:p>
        </p:txBody>
      </p:sp>
      <p:sp>
        <p:nvSpPr>
          <p:cNvPr id="22" name="Oval 21">
            <a:extLst>
              <a:ext uri="{FF2B5EF4-FFF2-40B4-BE49-F238E27FC236}">
                <a16:creationId xmlns:a16="http://schemas.microsoft.com/office/drawing/2014/main" id="{7DC31932-5314-F0D1-1FC6-891ABA978529}"/>
              </a:ext>
            </a:extLst>
          </p:cNvPr>
          <p:cNvSpPr/>
          <p:nvPr/>
        </p:nvSpPr>
        <p:spPr>
          <a:xfrm>
            <a:off x="1781176" y="3287574"/>
            <a:ext cx="3571874" cy="1007388"/>
          </a:xfrm>
          <a:prstGeom prst="ellipse">
            <a:avLst/>
          </a:prstGeom>
          <a:solidFill>
            <a:srgbClr val="253D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hu-HU" sz="2000" dirty="0" err="1"/>
              <a:t>Controllerek</a:t>
            </a:r>
            <a:r>
              <a:rPr lang="hu-HU" sz="2000" dirty="0"/>
              <a:t> és MGMT konzolok szeparációja</a:t>
            </a:r>
          </a:p>
          <a:p>
            <a:pPr algn="l"/>
            <a:endParaRPr lang="hu-HU" sz="2000" dirty="0">
              <a:solidFill>
                <a:schemeClr val="tx1"/>
              </a:solidFill>
            </a:endParaRPr>
          </a:p>
        </p:txBody>
      </p:sp>
      <p:pic>
        <p:nvPicPr>
          <p:cNvPr id="8" name="Picture 7" descr="A képen szöveg, clipart látható&#10;&#10;Automatikusan generált leírás">
            <a:extLst>
              <a:ext uri="{FF2B5EF4-FFF2-40B4-BE49-F238E27FC236}">
                <a16:creationId xmlns:a16="http://schemas.microsoft.com/office/drawing/2014/main" id="{8B5A904A-3DAF-0D11-E484-D4742282FC81}"/>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15600" y="1828800"/>
            <a:ext cx="1499235" cy="279400"/>
          </a:xfrm>
          <a:prstGeom prst="rect">
            <a:avLst/>
          </a:prstGeom>
          <a:noFill/>
        </p:spPr>
      </p:pic>
    </p:spTree>
    <p:extLst>
      <p:ext uri="{BB962C8B-B14F-4D97-AF65-F5344CB8AC3E}">
        <p14:creationId xmlns:p14="http://schemas.microsoft.com/office/powerpoint/2010/main" val="82212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animBg="1"/>
      <p:bldP spid="21" grpId="0" animBg="1"/>
      <p:bldP spid="2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3CC4D12-D26A-7D1B-04BB-422D9483B7F0}"/>
              </a:ext>
            </a:extLst>
          </p:cNvPr>
          <p:cNvSpPr>
            <a:spLocks noGrp="1"/>
          </p:cNvSpPr>
          <p:nvPr>
            <p:ph sz="quarter" idx="16"/>
          </p:nvPr>
        </p:nvSpPr>
        <p:spPr>
          <a:xfrm>
            <a:off x="368300" y="1543274"/>
            <a:ext cx="11226800" cy="497114"/>
          </a:xfrm>
        </p:spPr>
        <p:txBody>
          <a:bodyPr>
            <a:normAutofit lnSpcReduction="10000"/>
          </a:bodyPr>
          <a:lstStyle/>
          <a:p>
            <a:pPr marL="0" indent="0" algn="ctr">
              <a:buNone/>
            </a:pPr>
            <a:r>
              <a:rPr lang="hu-HU" sz="2800" dirty="0"/>
              <a:t>Megvalósítandó Architectúra</a:t>
            </a:r>
          </a:p>
        </p:txBody>
      </p:sp>
      <p:sp>
        <p:nvSpPr>
          <p:cNvPr id="2" name="Slide Number Placeholder 1">
            <a:extLst>
              <a:ext uri="{FF2B5EF4-FFF2-40B4-BE49-F238E27FC236}">
                <a16:creationId xmlns:a16="http://schemas.microsoft.com/office/drawing/2014/main" id="{BA31EDC3-CDED-79A1-BB0A-1D5A24D5512E}"/>
              </a:ext>
            </a:extLst>
          </p:cNvPr>
          <p:cNvSpPr>
            <a:spLocks noGrp="1"/>
          </p:cNvSpPr>
          <p:nvPr>
            <p:ph type="sldNum" sz="quarter" idx="12"/>
          </p:nvPr>
        </p:nvSpPr>
        <p:spPr/>
        <p:txBody>
          <a:bodyPr/>
          <a:lstStyle/>
          <a:p>
            <a:fld id="{3C6863D3-0438-440B-9B18-903EFF5BE46F}" type="slidenum">
              <a:rPr lang="en-US" smtClean="0"/>
              <a:pPr/>
              <a:t>11</a:t>
            </a:fld>
            <a:endParaRPr lang="en-US" dirty="0"/>
          </a:p>
        </p:txBody>
      </p:sp>
      <p:sp>
        <p:nvSpPr>
          <p:cNvPr id="3" name="Text Placeholder 2">
            <a:extLst>
              <a:ext uri="{FF2B5EF4-FFF2-40B4-BE49-F238E27FC236}">
                <a16:creationId xmlns:a16="http://schemas.microsoft.com/office/drawing/2014/main" id="{B9F0F320-0EED-0575-57E7-343C32D71CA7}"/>
              </a:ext>
            </a:extLst>
          </p:cNvPr>
          <p:cNvSpPr>
            <a:spLocks noGrp="1"/>
          </p:cNvSpPr>
          <p:nvPr>
            <p:ph type="body" sz="quarter" idx="15"/>
          </p:nvPr>
        </p:nvSpPr>
        <p:spPr/>
        <p:txBody>
          <a:bodyPr/>
          <a:lstStyle/>
          <a:p>
            <a:endParaRPr lang="hu-HU"/>
          </a:p>
        </p:txBody>
      </p:sp>
      <p:sp>
        <p:nvSpPr>
          <p:cNvPr id="5" name="Text Placeholder 4">
            <a:extLst>
              <a:ext uri="{FF2B5EF4-FFF2-40B4-BE49-F238E27FC236}">
                <a16:creationId xmlns:a16="http://schemas.microsoft.com/office/drawing/2014/main" id="{44EA122D-609F-62AA-50BC-85BFD3222F42}"/>
              </a:ext>
            </a:extLst>
          </p:cNvPr>
          <p:cNvSpPr>
            <a:spLocks noGrp="1"/>
          </p:cNvSpPr>
          <p:nvPr>
            <p:ph type="body" sz="quarter" idx="14"/>
          </p:nvPr>
        </p:nvSpPr>
        <p:spPr/>
        <p:txBody>
          <a:bodyPr/>
          <a:lstStyle/>
          <a:p>
            <a:endParaRPr lang="hu-HU"/>
          </a:p>
        </p:txBody>
      </p:sp>
      <p:sp>
        <p:nvSpPr>
          <p:cNvPr id="6" name="Title 5">
            <a:extLst>
              <a:ext uri="{FF2B5EF4-FFF2-40B4-BE49-F238E27FC236}">
                <a16:creationId xmlns:a16="http://schemas.microsoft.com/office/drawing/2014/main" id="{AD0779B9-E3CF-E5C6-55E2-281207078576}"/>
              </a:ext>
            </a:extLst>
          </p:cNvPr>
          <p:cNvSpPr>
            <a:spLocks noGrp="1"/>
          </p:cNvSpPr>
          <p:nvPr>
            <p:ph type="title"/>
          </p:nvPr>
        </p:nvSpPr>
        <p:spPr/>
        <p:txBody>
          <a:bodyPr/>
          <a:lstStyle/>
          <a:p>
            <a:endParaRPr lang="hu-HU"/>
          </a:p>
        </p:txBody>
      </p:sp>
      <p:pic>
        <p:nvPicPr>
          <p:cNvPr id="7" name="Picture 6" descr="A picture containing electric blue, text, majorelle blue, blue">
            <a:extLst>
              <a:ext uri="{FF2B5EF4-FFF2-40B4-BE49-F238E27FC236}">
                <a16:creationId xmlns:a16="http://schemas.microsoft.com/office/drawing/2014/main" id="{9EE35D52-7446-48BA-2AC9-70773C45DFDD}"/>
              </a:ext>
            </a:extLst>
          </p:cNvPr>
          <p:cNvPicPr>
            <a:picLocks noChangeAspect="1"/>
          </p:cNvPicPr>
          <p:nvPr/>
        </p:nvPicPr>
        <p:blipFill>
          <a:blip r:embed="rId2"/>
          <a:stretch>
            <a:fillRect/>
          </a:stretch>
        </p:blipFill>
        <p:spPr>
          <a:xfrm>
            <a:off x="6299" y="1495"/>
            <a:ext cx="12185701" cy="1579418"/>
          </a:xfrm>
          <a:prstGeom prst="rect">
            <a:avLst/>
          </a:prstGeom>
        </p:spPr>
      </p:pic>
      <p:pic>
        <p:nvPicPr>
          <p:cNvPr id="8" name="Kép 14">
            <a:extLst>
              <a:ext uri="{FF2B5EF4-FFF2-40B4-BE49-F238E27FC236}">
                <a16:creationId xmlns:a16="http://schemas.microsoft.com/office/drawing/2014/main" id="{2CD8E776-C7E4-7953-2C4A-6B4F933B41B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67088" y="1893782"/>
            <a:ext cx="8358011" cy="4964218"/>
          </a:xfrm>
          <a:prstGeom prst="rect">
            <a:avLst/>
          </a:prstGeom>
          <a:noFill/>
          <a:ln>
            <a:noFill/>
          </a:ln>
        </p:spPr>
      </p:pic>
      <p:pic>
        <p:nvPicPr>
          <p:cNvPr id="9" name="Picture 8" descr="A képen szöveg, clipart látható&#10;&#10;Automatikusan generált leírás">
            <a:extLst>
              <a:ext uri="{FF2B5EF4-FFF2-40B4-BE49-F238E27FC236}">
                <a16:creationId xmlns:a16="http://schemas.microsoft.com/office/drawing/2014/main" id="{1945918C-09C5-9AAB-98A0-312A4BC384E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15600" y="1828800"/>
            <a:ext cx="1499235" cy="279400"/>
          </a:xfrm>
          <a:prstGeom prst="rect">
            <a:avLst/>
          </a:prstGeom>
          <a:noFill/>
        </p:spPr>
      </p:pic>
    </p:spTree>
    <p:extLst>
      <p:ext uri="{BB962C8B-B14F-4D97-AF65-F5344CB8AC3E}">
        <p14:creationId xmlns:p14="http://schemas.microsoft.com/office/powerpoint/2010/main" val="3089724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31EDC3-CDED-79A1-BB0A-1D5A24D5512E}"/>
              </a:ext>
            </a:extLst>
          </p:cNvPr>
          <p:cNvSpPr>
            <a:spLocks noGrp="1"/>
          </p:cNvSpPr>
          <p:nvPr>
            <p:ph type="sldNum" sz="quarter" idx="12"/>
          </p:nvPr>
        </p:nvSpPr>
        <p:spPr/>
        <p:txBody>
          <a:bodyPr/>
          <a:lstStyle/>
          <a:p>
            <a:fld id="{3C6863D3-0438-440B-9B18-903EFF5BE46F}" type="slidenum">
              <a:rPr lang="en-US" smtClean="0"/>
              <a:pPr/>
              <a:t>12</a:t>
            </a:fld>
            <a:endParaRPr lang="en-US" dirty="0"/>
          </a:p>
        </p:txBody>
      </p:sp>
      <p:sp>
        <p:nvSpPr>
          <p:cNvPr id="3" name="Text Placeholder 2">
            <a:extLst>
              <a:ext uri="{FF2B5EF4-FFF2-40B4-BE49-F238E27FC236}">
                <a16:creationId xmlns:a16="http://schemas.microsoft.com/office/drawing/2014/main" id="{B9F0F320-0EED-0575-57E7-343C32D71CA7}"/>
              </a:ext>
            </a:extLst>
          </p:cNvPr>
          <p:cNvSpPr>
            <a:spLocks noGrp="1"/>
          </p:cNvSpPr>
          <p:nvPr>
            <p:ph type="body" sz="quarter" idx="15"/>
          </p:nvPr>
        </p:nvSpPr>
        <p:spPr/>
        <p:txBody>
          <a:bodyPr/>
          <a:lstStyle/>
          <a:p>
            <a:endParaRPr lang="hu-HU"/>
          </a:p>
        </p:txBody>
      </p:sp>
      <p:sp>
        <p:nvSpPr>
          <p:cNvPr id="5" name="Text Placeholder 4">
            <a:extLst>
              <a:ext uri="{FF2B5EF4-FFF2-40B4-BE49-F238E27FC236}">
                <a16:creationId xmlns:a16="http://schemas.microsoft.com/office/drawing/2014/main" id="{44EA122D-609F-62AA-50BC-85BFD3222F42}"/>
              </a:ext>
            </a:extLst>
          </p:cNvPr>
          <p:cNvSpPr>
            <a:spLocks noGrp="1"/>
          </p:cNvSpPr>
          <p:nvPr>
            <p:ph type="body" sz="quarter" idx="14"/>
          </p:nvPr>
        </p:nvSpPr>
        <p:spPr/>
        <p:txBody>
          <a:bodyPr/>
          <a:lstStyle/>
          <a:p>
            <a:endParaRPr lang="hu-HU"/>
          </a:p>
        </p:txBody>
      </p:sp>
      <p:sp>
        <p:nvSpPr>
          <p:cNvPr id="6" name="Title 5">
            <a:extLst>
              <a:ext uri="{FF2B5EF4-FFF2-40B4-BE49-F238E27FC236}">
                <a16:creationId xmlns:a16="http://schemas.microsoft.com/office/drawing/2014/main" id="{AD0779B9-E3CF-E5C6-55E2-281207078576}"/>
              </a:ext>
            </a:extLst>
          </p:cNvPr>
          <p:cNvSpPr>
            <a:spLocks noGrp="1"/>
          </p:cNvSpPr>
          <p:nvPr>
            <p:ph type="title"/>
          </p:nvPr>
        </p:nvSpPr>
        <p:spPr/>
        <p:txBody>
          <a:bodyPr/>
          <a:lstStyle/>
          <a:p>
            <a:endParaRPr lang="hu-HU"/>
          </a:p>
        </p:txBody>
      </p:sp>
      <p:pic>
        <p:nvPicPr>
          <p:cNvPr id="7" name="Picture 6" descr="A picture containing electric blue, text, majorelle blue, blue">
            <a:extLst>
              <a:ext uri="{FF2B5EF4-FFF2-40B4-BE49-F238E27FC236}">
                <a16:creationId xmlns:a16="http://schemas.microsoft.com/office/drawing/2014/main" id="{9EE35D52-7446-48BA-2AC9-70773C45DFDD}"/>
              </a:ext>
            </a:extLst>
          </p:cNvPr>
          <p:cNvPicPr>
            <a:picLocks noChangeAspect="1"/>
          </p:cNvPicPr>
          <p:nvPr/>
        </p:nvPicPr>
        <p:blipFill>
          <a:blip r:embed="rId2"/>
          <a:stretch>
            <a:fillRect/>
          </a:stretch>
        </p:blipFill>
        <p:spPr>
          <a:xfrm>
            <a:off x="6299" y="1495"/>
            <a:ext cx="12185701" cy="1579418"/>
          </a:xfrm>
          <a:prstGeom prst="rect">
            <a:avLst/>
          </a:prstGeom>
        </p:spPr>
      </p:pic>
      <p:pic>
        <p:nvPicPr>
          <p:cNvPr id="12" name="Picture 11">
            <a:extLst>
              <a:ext uri="{FF2B5EF4-FFF2-40B4-BE49-F238E27FC236}">
                <a16:creationId xmlns:a16="http://schemas.microsoft.com/office/drawing/2014/main" id="{1E5C63F7-7E28-420D-0480-714EE1AB51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6006" y="2209786"/>
            <a:ext cx="6412230" cy="3506605"/>
          </a:xfrm>
          <a:prstGeom prst="rect">
            <a:avLst/>
          </a:prstGeom>
        </p:spPr>
      </p:pic>
      <p:sp>
        <p:nvSpPr>
          <p:cNvPr id="13" name="Content Placeholder 3">
            <a:extLst>
              <a:ext uri="{FF2B5EF4-FFF2-40B4-BE49-F238E27FC236}">
                <a16:creationId xmlns:a16="http://schemas.microsoft.com/office/drawing/2014/main" id="{C2898F8F-50C0-B7C5-763B-807C82A77D1C}"/>
              </a:ext>
            </a:extLst>
          </p:cNvPr>
          <p:cNvSpPr>
            <a:spLocks noGrp="1"/>
          </p:cNvSpPr>
          <p:nvPr>
            <p:ph sz="quarter" idx="16"/>
          </p:nvPr>
        </p:nvSpPr>
        <p:spPr>
          <a:xfrm>
            <a:off x="368300" y="1543274"/>
            <a:ext cx="11226800" cy="497114"/>
          </a:xfrm>
        </p:spPr>
        <p:txBody>
          <a:bodyPr>
            <a:normAutofit lnSpcReduction="10000"/>
          </a:bodyPr>
          <a:lstStyle/>
          <a:p>
            <a:pPr marL="0" indent="0" algn="ctr">
              <a:buNone/>
            </a:pPr>
            <a:r>
              <a:rPr lang="hu-HU" sz="2800" dirty="0"/>
              <a:t>Implementált eszközök meghatározása</a:t>
            </a:r>
          </a:p>
        </p:txBody>
      </p:sp>
      <p:sp>
        <p:nvSpPr>
          <p:cNvPr id="14" name="Content Placeholder 3">
            <a:extLst>
              <a:ext uri="{FF2B5EF4-FFF2-40B4-BE49-F238E27FC236}">
                <a16:creationId xmlns:a16="http://schemas.microsoft.com/office/drawing/2014/main" id="{30140A3D-EF88-2906-1C40-7A81E88AED1F}"/>
              </a:ext>
            </a:extLst>
          </p:cNvPr>
          <p:cNvSpPr txBox="1">
            <a:spLocks/>
          </p:cNvSpPr>
          <p:nvPr/>
        </p:nvSpPr>
        <p:spPr>
          <a:xfrm>
            <a:off x="-1" y="2228472"/>
            <a:ext cx="5788479" cy="4070728"/>
          </a:xfrm>
          <a:prstGeom prst="rect">
            <a:avLst/>
          </a:prstGeom>
        </p:spPr>
        <p:txBody>
          <a:bodyPr vert="horz" wrap="square" lIns="50800" tIns="50800" rIns="50800" bIns="50800" rtlCol="0" anchor="t">
            <a:normAutofit/>
          </a:bodyPr>
          <a:lstStyle>
            <a:lvl1pPr marL="216000" indent="-216000" algn="l" defTabSz="914400" rtl="0" eaLnBrk="1" latinLnBrk="0" hangingPunct="1">
              <a:lnSpc>
                <a:spcPct val="100000"/>
              </a:lnSpc>
              <a:spcBef>
                <a:spcPts val="300"/>
              </a:spcBef>
              <a:buClr>
                <a:schemeClr val="accent1"/>
              </a:buClr>
              <a:buFont typeface="Calibri Light" panose="020F0302020204030204" pitchFamily="34" charset="0"/>
              <a:buChar char="›"/>
              <a:defRPr sz="2000" kern="1200">
                <a:solidFill>
                  <a:schemeClr val="tx1"/>
                </a:solidFill>
                <a:latin typeface="+mn-lt"/>
                <a:ea typeface="+mn-ea"/>
                <a:cs typeface="+mn-cs"/>
              </a:defRPr>
            </a:lvl1pPr>
            <a:lvl2pPr marL="432000" indent="-216000" algn="l" defTabSz="914400" rtl="0" eaLnBrk="1" latinLnBrk="0" hangingPunct="1">
              <a:lnSpc>
                <a:spcPct val="100000"/>
              </a:lnSpc>
              <a:spcBef>
                <a:spcPts val="300"/>
              </a:spcBef>
              <a:buClr>
                <a:schemeClr val="accent1"/>
              </a:buClr>
              <a:buFont typeface="Calibri Light" panose="020F0302020204030204" pitchFamily="34" charset="0"/>
              <a:buChar char="›"/>
              <a:defRPr sz="1800" kern="1200">
                <a:solidFill>
                  <a:schemeClr val="tx1"/>
                </a:solidFill>
                <a:latin typeface="+mn-lt"/>
                <a:ea typeface="+mn-ea"/>
                <a:cs typeface="+mn-cs"/>
              </a:defRPr>
            </a:lvl2pPr>
            <a:lvl3pPr marL="648000" indent="-216000" algn="l" defTabSz="914400" rtl="0" eaLnBrk="1" latinLnBrk="0" hangingPunct="1">
              <a:lnSpc>
                <a:spcPct val="100000"/>
              </a:lnSpc>
              <a:spcBef>
                <a:spcPts val="300"/>
              </a:spcBef>
              <a:buClr>
                <a:schemeClr val="accent1"/>
              </a:buClr>
              <a:buFont typeface="Calibri Light" panose="020F0302020204030204" pitchFamily="34" charset="0"/>
              <a:buChar char="›"/>
              <a:defRPr sz="1600" kern="1200">
                <a:solidFill>
                  <a:schemeClr val="tx1"/>
                </a:solidFill>
                <a:latin typeface="+mn-lt"/>
                <a:ea typeface="+mn-ea"/>
                <a:cs typeface="+mn-cs"/>
              </a:defRPr>
            </a:lvl3pPr>
            <a:lvl4pPr marL="864000" indent="-216000" algn="l" defTabSz="914400" rtl="0" eaLnBrk="1" latinLnBrk="0" hangingPunct="1">
              <a:lnSpc>
                <a:spcPct val="100000"/>
              </a:lnSpc>
              <a:spcBef>
                <a:spcPts val="300"/>
              </a:spcBef>
              <a:buClr>
                <a:schemeClr val="accent1"/>
              </a:buClr>
              <a:buFont typeface="Calibri Light" panose="020F0302020204030204" pitchFamily="34" charset="0"/>
              <a:buChar char="›"/>
              <a:defRPr sz="1400" kern="1200">
                <a:solidFill>
                  <a:schemeClr val="tx1"/>
                </a:solidFill>
                <a:latin typeface="+mn-lt"/>
                <a:ea typeface="+mn-ea"/>
                <a:cs typeface="+mn-cs"/>
              </a:defRPr>
            </a:lvl4pPr>
            <a:lvl5pPr marL="1080000" indent="-216000" algn="l" defTabSz="914400" rtl="0" eaLnBrk="1" latinLnBrk="0" hangingPunct="1">
              <a:lnSpc>
                <a:spcPct val="100000"/>
              </a:lnSpc>
              <a:spcBef>
                <a:spcPts val="300"/>
              </a:spcBef>
              <a:buClr>
                <a:schemeClr val="accent1"/>
              </a:buClr>
              <a:buFont typeface="Calibri Light" panose="020F030202020403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hu-HU" sz="2400" dirty="0"/>
              <a:t>Beavatkozás nélkül az OT rendszerekbe</a:t>
            </a:r>
          </a:p>
          <a:p>
            <a:r>
              <a:rPr lang="hu-HU" sz="2400" dirty="0"/>
              <a:t>Cisco </a:t>
            </a:r>
            <a:r>
              <a:rPr lang="hu-HU" sz="2400" dirty="0" err="1"/>
              <a:t>Cybervision</a:t>
            </a:r>
            <a:r>
              <a:rPr lang="hu-HU" sz="2400" dirty="0"/>
              <a:t> implementálása</a:t>
            </a:r>
          </a:p>
          <a:p>
            <a:pPr lvl="1"/>
            <a:r>
              <a:rPr lang="hu-HU" sz="2200" dirty="0"/>
              <a:t>Szenzorok implementálása</a:t>
            </a:r>
          </a:p>
          <a:p>
            <a:pPr lvl="2"/>
            <a:r>
              <a:rPr lang="hu-HU" sz="2000" dirty="0"/>
              <a:t>hálózati eszközökbe</a:t>
            </a:r>
          </a:p>
          <a:p>
            <a:pPr lvl="2"/>
            <a:r>
              <a:rPr lang="hu-HU" sz="2000" dirty="0"/>
              <a:t>SPAN portok konfigurációja a switch-</a:t>
            </a:r>
            <a:r>
              <a:rPr lang="hu-HU" sz="2000" dirty="0" err="1"/>
              <a:t>eken</a:t>
            </a:r>
            <a:endParaRPr lang="hu-HU" sz="2000" dirty="0"/>
          </a:p>
          <a:p>
            <a:pPr lvl="1"/>
            <a:r>
              <a:rPr lang="hu-HU" sz="2200" dirty="0"/>
              <a:t>OT eszközök hálózati forgalmának elemzése</a:t>
            </a:r>
          </a:p>
          <a:p>
            <a:pPr lvl="1"/>
            <a:r>
              <a:rPr lang="hu-HU" sz="2200" dirty="0"/>
              <a:t>Eredmény:</a:t>
            </a:r>
          </a:p>
          <a:p>
            <a:pPr lvl="2"/>
            <a:r>
              <a:rPr lang="hu-HU" sz="2000" dirty="0"/>
              <a:t>OT hálózati forgalmak elemzése</a:t>
            </a:r>
          </a:p>
          <a:p>
            <a:pPr lvl="2"/>
            <a:r>
              <a:rPr lang="hu-HU" sz="2000" dirty="0"/>
              <a:t>OT hálózati topológia meghatározása</a:t>
            </a:r>
          </a:p>
          <a:p>
            <a:pPr lvl="2"/>
            <a:r>
              <a:rPr lang="hu-HU" sz="2000" dirty="0"/>
              <a:t>Automatizált CMDB</a:t>
            </a:r>
          </a:p>
          <a:p>
            <a:pPr lvl="2"/>
            <a:r>
              <a:rPr lang="hu-HU" sz="2000" dirty="0"/>
              <a:t>Aktuális sérülékenységek kimutatása</a:t>
            </a:r>
          </a:p>
          <a:p>
            <a:pPr lvl="1"/>
            <a:endParaRPr lang="hu-HU" sz="2200" dirty="0"/>
          </a:p>
          <a:p>
            <a:endParaRPr lang="hu-HU" sz="2400" dirty="0"/>
          </a:p>
        </p:txBody>
      </p:sp>
      <p:pic>
        <p:nvPicPr>
          <p:cNvPr id="4" name="Picture 3" descr="A képen szöveg, clipart látható&#10;&#10;Automatikusan generált leírás">
            <a:extLst>
              <a:ext uri="{FF2B5EF4-FFF2-40B4-BE49-F238E27FC236}">
                <a16:creationId xmlns:a16="http://schemas.microsoft.com/office/drawing/2014/main" id="{2E5D52F6-00E8-1AEB-6CB2-E1F07F462B84}"/>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15600" y="1828800"/>
            <a:ext cx="1499235" cy="279400"/>
          </a:xfrm>
          <a:prstGeom prst="rect">
            <a:avLst/>
          </a:prstGeom>
          <a:noFill/>
        </p:spPr>
      </p:pic>
    </p:spTree>
    <p:extLst>
      <p:ext uri="{BB962C8B-B14F-4D97-AF65-F5344CB8AC3E}">
        <p14:creationId xmlns:p14="http://schemas.microsoft.com/office/powerpoint/2010/main" val="4227065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31EDC3-CDED-79A1-BB0A-1D5A24D5512E}"/>
              </a:ext>
            </a:extLst>
          </p:cNvPr>
          <p:cNvSpPr>
            <a:spLocks noGrp="1"/>
          </p:cNvSpPr>
          <p:nvPr>
            <p:ph type="sldNum" sz="quarter" idx="12"/>
          </p:nvPr>
        </p:nvSpPr>
        <p:spPr/>
        <p:txBody>
          <a:bodyPr/>
          <a:lstStyle/>
          <a:p>
            <a:fld id="{3C6863D3-0438-440B-9B18-903EFF5BE46F}" type="slidenum">
              <a:rPr lang="en-US" smtClean="0"/>
              <a:pPr/>
              <a:t>13</a:t>
            </a:fld>
            <a:endParaRPr lang="en-US" dirty="0"/>
          </a:p>
        </p:txBody>
      </p:sp>
      <p:sp>
        <p:nvSpPr>
          <p:cNvPr id="3" name="Text Placeholder 2">
            <a:extLst>
              <a:ext uri="{FF2B5EF4-FFF2-40B4-BE49-F238E27FC236}">
                <a16:creationId xmlns:a16="http://schemas.microsoft.com/office/drawing/2014/main" id="{B9F0F320-0EED-0575-57E7-343C32D71CA7}"/>
              </a:ext>
            </a:extLst>
          </p:cNvPr>
          <p:cNvSpPr>
            <a:spLocks noGrp="1"/>
          </p:cNvSpPr>
          <p:nvPr>
            <p:ph type="body" sz="quarter" idx="15"/>
          </p:nvPr>
        </p:nvSpPr>
        <p:spPr/>
        <p:txBody>
          <a:bodyPr/>
          <a:lstStyle/>
          <a:p>
            <a:endParaRPr lang="hu-HU"/>
          </a:p>
        </p:txBody>
      </p:sp>
      <p:sp>
        <p:nvSpPr>
          <p:cNvPr id="5" name="Text Placeholder 4">
            <a:extLst>
              <a:ext uri="{FF2B5EF4-FFF2-40B4-BE49-F238E27FC236}">
                <a16:creationId xmlns:a16="http://schemas.microsoft.com/office/drawing/2014/main" id="{44EA122D-609F-62AA-50BC-85BFD3222F42}"/>
              </a:ext>
            </a:extLst>
          </p:cNvPr>
          <p:cNvSpPr>
            <a:spLocks noGrp="1"/>
          </p:cNvSpPr>
          <p:nvPr>
            <p:ph type="body" sz="quarter" idx="14"/>
          </p:nvPr>
        </p:nvSpPr>
        <p:spPr/>
        <p:txBody>
          <a:bodyPr/>
          <a:lstStyle/>
          <a:p>
            <a:endParaRPr lang="hu-HU"/>
          </a:p>
        </p:txBody>
      </p:sp>
      <p:sp>
        <p:nvSpPr>
          <p:cNvPr id="6" name="Title 5">
            <a:extLst>
              <a:ext uri="{FF2B5EF4-FFF2-40B4-BE49-F238E27FC236}">
                <a16:creationId xmlns:a16="http://schemas.microsoft.com/office/drawing/2014/main" id="{AD0779B9-E3CF-E5C6-55E2-281207078576}"/>
              </a:ext>
            </a:extLst>
          </p:cNvPr>
          <p:cNvSpPr>
            <a:spLocks noGrp="1"/>
          </p:cNvSpPr>
          <p:nvPr>
            <p:ph type="title"/>
          </p:nvPr>
        </p:nvSpPr>
        <p:spPr/>
        <p:txBody>
          <a:bodyPr/>
          <a:lstStyle/>
          <a:p>
            <a:endParaRPr lang="hu-HU"/>
          </a:p>
        </p:txBody>
      </p:sp>
      <p:pic>
        <p:nvPicPr>
          <p:cNvPr id="7" name="Picture 6" descr="A picture containing electric blue, text, majorelle blue, blue">
            <a:extLst>
              <a:ext uri="{FF2B5EF4-FFF2-40B4-BE49-F238E27FC236}">
                <a16:creationId xmlns:a16="http://schemas.microsoft.com/office/drawing/2014/main" id="{9EE35D52-7446-48BA-2AC9-70773C45DFDD}"/>
              </a:ext>
            </a:extLst>
          </p:cNvPr>
          <p:cNvPicPr>
            <a:picLocks noChangeAspect="1"/>
          </p:cNvPicPr>
          <p:nvPr/>
        </p:nvPicPr>
        <p:blipFill>
          <a:blip r:embed="rId2"/>
          <a:stretch>
            <a:fillRect/>
          </a:stretch>
        </p:blipFill>
        <p:spPr>
          <a:xfrm>
            <a:off x="6299" y="1495"/>
            <a:ext cx="12185701" cy="1579418"/>
          </a:xfrm>
          <a:prstGeom prst="rect">
            <a:avLst/>
          </a:prstGeom>
        </p:spPr>
      </p:pic>
      <p:sp>
        <p:nvSpPr>
          <p:cNvPr id="13" name="Content Placeholder 3">
            <a:extLst>
              <a:ext uri="{FF2B5EF4-FFF2-40B4-BE49-F238E27FC236}">
                <a16:creationId xmlns:a16="http://schemas.microsoft.com/office/drawing/2014/main" id="{C2898F8F-50C0-B7C5-763B-807C82A77D1C}"/>
              </a:ext>
            </a:extLst>
          </p:cNvPr>
          <p:cNvSpPr>
            <a:spLocks noGrp="1"/>
          </p:cNvSpPr>
          <p:nvPr>
            <p:ph sz="quarter" idx="16"/>
          </p:nvPr>
        </p:nvSpPr>
        <p:spPr>
          <a:xfrm>
            <a:off x="368300" y="1543274"/>
            <a:ext cx="11226800" cy="497114"/>
          </a:xfrm>
        </p:spPr>
        <p:txBody>
          <a:bodyPr>
            <a:normAutofit lnSpcReduction="10000"/>
          </a:bodyPr>
          <a:lstStyle/>
          <a:p>
            <a:pPr marL="0" indent="0" algn="ctr">
              <a:buNone/>
            </a:pPr>
            <a:r>
              <a:rPr lang="hu-HU" sz="2800" dirty="0"/>
              <a:t>OT hálózati topológiai felmérés eredménye</a:t>
            </a:r>
          </a:p>
        </p:txBody>
      </p:sp>
      <p:pic>
        <p:nvPicPr>
          <p:cNvPr id="8" name="Picture 7">
            <a:extLst>
              <a:ext uri="{FF2B5EF4-FFF2-40B4-BE49-F238E27FC236}">
                <a16:creationId xmlns:a16="http://schemas.microsoft.com/office/drawing/2014/main" id="{A693E7BE-2251-AFC9-D6C4-43AB2D046C68}"/>
              </a:ext>
            </a:extLst>
          </p:cNvPr>
          <p:cNvPicPr>
            <a:picLocks noChangeAspect="1"/>
          </p:cNvPicPr>
          <p:nvPr/>
        </p:nvPicPr>
        <p:blipFill>
          <a:blip r:embed="rId3"/>
          <a:stretch>
            <a:fillRect/>
          </a:stretch>
        </p:blipFill>
        <p:spPr>
          <a:xfrm>
            <a:off x="0" y="2209787"/>
            <a:ext cx="12192000" cy="4523556"/>
          </a:xfrm>
          <a:prstGeom prst="rect">
            <a:avLst/>
          </a:prstGeom>
        </p:spPr>
      </p:pic>
      <p:pic>
        <p:nvPicPr>
          <p:cNvPr id="4" name="Picture 3" descr="A képen szöveg, clipart látható&#10;&#10;Automatikusan generált leírás">
            <a:extLst>
              <a:ext uri="{FF2B5EF4-FFF2-40B4-BE49-F238E27FC236}">
                <a16:creationId xmlns:a16="http://schemas.microsoft.com/office/drawing/2014/main" id="{E3F40258-A2A1-A292-F6E9-CCD7C96ADEF9}"/>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15600" y="1828800"/>
            <a:ext cx="1499235" cy="279400"/>
          </a:xfrm>
          <a:prstGeom prst="rect">
            <a:avLst/>
          </a:prstGeom>
          <a:noFill/>
        </p:spPr>
      </p:pic>
    </p:spTree>
    <p:extLst>
      <p:ext uri="{BB962C8B-B14F-4D97-AF65-F5344CB8AC3E}">
        <p14:creationId xmlns:p14="http://schemas.microsoft.com/office/powerpoint/2010/main" val="3790249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F4207C-1E5D-B468-DD30-AF7DB082DF72}"/>
              </a:ext>
            </a:extLst>
          </p:cNvPr>
          <p:cNvPicPr>
            <a:picLocks noChangeAspect="1"/>
          </p:cNvPicPr>
          <p:nvPr/>
        </p:nvPicPr>
        <p:blipFill>
          <a:blip r:embed="rId2"/>
          <a:stretch>
            <a:fillRect/>
          </a:stretch>
        </p:blipFill>
        <p:spPr>
          <a:xfrm>
            <a:off x="936047" y="1860774"/>
            <a:ext cx="9717665" cy="4671417"/>
          </a:xfrm>
          <a:prstGeom prst="rect">
            <a:avLst/>
          </a:prstGeom>
        </p:spPr>
      </p:pic>
      <p:sp>
        <p:nvSpPr>
          <p:cNvPr id="2" name="Slide Number Placeholder 1">
            <a:extLst>
              <a:ext uri="{FF2B5EF4-FFF2-40B4-BE49-F238E27FC236}">
                <a16:creationId xmlns:a16="http://schemas.microsoft.com/office/drawing/2014/main" id="{BA31EDC3-CDED-79A1-BB0A-1D5A24D5512E}"/>
              </a:ext>
            </a:extLst>
          </p:cNvPr>
          <p:cNvSpPr>
            <a:spLocks noGrp="1"/>
          </p:cNvSpPr>
          <p:nvPr>
            <p:ph type="sldNum" sz="quarter" idx="12"/>
          </p:nvPr>
        </p:nvSpPr>
        <p:spPr/>
        <p:txBody>
          <a:bodyPr/>
          <a:lstStyle/>
          <a:p>
            <a:fld id="{3C6863D3-0438-440B-9B18-903EFF5BE46F}" type="slidenum">
              <a:rPr lang="en-US" smtClean="0"/>
              <a:pPr/>
              <a:t>14</a:t>
            </a:fld>
            <a:endParaRPr lang="en-US" dirty="0"/>
          </a:p>
        </p:txBody>
      </p:sp>
      <p:sp>
        <p:nvSpPr>
          <p:cNvPr id="3" name="Text Placeholder 2">
            <a:extLst>
              <a:ext uri="{FF2B5EF4-FFF2-40B4-BE49-F238E27FC236}">
                <a16:creationId xmlns:a16="http://schemas.microsoft.com/office/drawing/2014/main" id="{B9F0F320-0EED-0575-57E7-343C32D71CA7}"/>
              </a:ext>
            </a:extLst>
          </p:cNvPr>
          <p:cNvSpPr>
            <a:spLocks noGrp="1"/>
          </p:cNvSpPr>
          <p:nvPr>
            <p:ph type="body" sz="quarter" idx="15"/>
          </p:nvPr>
        </p:nvSpPr>
        <p:spPr/>
        <p:txBody>
          <a:bodyPr/>
          <a:lstStyle/>
          <a:p>
            <a:endParaRPr lang="hu-HU"/>
          </a:p>
        </p:txBody>
      </p:sp>
      <p:sp>
        <p:nvSpPr>
          <p:cNvPr id="5" name="Text Placeholder 4">
            <a:extLst>
              <a:ext uri="{FF2B5EF4-FFF2-40B4-BE49-F238E27FC236}">
                <a16:creationId xmlns:a16="http://schemas.microsoft.com/office/drawing/2014/main" id="{44EA122D-609F-62AA-50BC-85BFD3222F42}"/>
              </a:ext>
            </a:extLst>
          </p:cNvPr>
          <p:cNvSpPr>
            <a:spLocks noGrp="1"/>
          </p:cNvSpPr>
          <p:nvPr>
            <p:ph type="body" sz="quarter" idx="14"/>
          </p:nvPr>
        </p:nvSpPr>
        <p:spPr/>
        <p:txBody>
          <a:bodyPr/>
          <a:lstStyle/>
          <a:p>
            <a:endParaRPr lang="hu-HU"/>
          </a:p>
        </p:txBody>
      </p:sp>
      <p:sp>
        <p:nvSpPr>
          <p:cNvPr id="6" name="Title 5">
            <a:extLst>
              <a:ext uri="{FF2B5EF4-FFF2-40B4-BE49-F238E27FC236}">
                <a16:creationId xmlns:a16="http://schemas.microsoft.com/office/drawing/2014/main" id="{AD0779B9-E3CF-E5C6-55E2-281207078576}"/>
              </a:ext>
            </a:extLst>
          </p:cNvPr>
          <p:cNvSpPr>
            <a:spLocks noGrp="1"/>
          </p:cNvSpPr>
          <p:nvPr>
            <p:ph type="title"/>
          </p:nvPr>
        </p:nvSpPr>
        <p:spPr/>
        <p:txBody>
          <a:bodyPr/>
          <a:lstStyle/>
          <a:p>
            <a:endParaRPr lang="hu-HU"/>
          </a:p>
        </p:txBody>
      </p:sp>
      <p:pic>
        <p:nvPicPr>
          <p:cNvPr id="7" name="Picture 6" descr="A picture containing electric blue, text, majorelle blue, blue">
            <a:extLst>
              <a:ext uri="{FF2B5EF4-FFF2-40B4-BE49-F238E27FC236}">
                <a16:creationId xmlns:a16="http://schemas.microsoft.com/office/drawing/2014/main" id="{9EE35D52-7446-48BA-2AC9-70773C45DFDD}"/>
              </a:ext>
            </a:extLst>
          </p:cNvPr>
          <p:cNvPicPr>
            <a:picLocks noChangeAspect="1"/>
          </p:cNvPicPr>
          <p:nvPr/>
        </p:nvPicPr>
        <p:blipFill>
          <a:blip r:embed="rId3"/>
          <a:stretch>
            <a:fillRect/>
          </a:stretch>
        </p:blipFill>
        <p:spPr>
          <a:xfrm>
            <a:off x="6299" y="1495"/>
            <a:ext cx="12185701" cy="1579418"/>
          </a:xfrm>
          <a:prstGeom prst="rect">
            <a:avLst/>
          </a:prstGeom>
        </p:spPr>
      </p:pic>
      <p:sp>
        <p:nvSpPr>
          <p:cNvPr id="13" name="Content Placeholder 3">
            <a:extLst>
              <a:ext uri="{FF2B5EF4-FFF2-40B4-BE49-F238E27FC236}">
                <a16:creationId xmlns:a16="http://schemas.microsoft.com/office/drawing/2014/main" id="{C2898F8F-50C0-B7C5-763B-807C82A77D1C}"/>
              </a:ext>
            </a:extLst>
          </p:cNvPr>
          <p:cNvSpPr>
            <a:spLocks noGrp="1"/>
          </p:cNvSpPr>
          <p:nvPr>
            <p:ph sz="quarter" idx="16"/>
          </p:nvPr>
        </p:nvSpPr>
        <p:spPr>
          <a:xfrm>
            <a:off x="368300" y="1543274"/>
            <a:ext cx="11226800" cy="497114"/>
          </a:xfrm>
        </p:spPr>
        <p:txBody>
          <a:bodyPr>
            <a:normAutofit lnSpcReduction="10000"/>
          </a:bodyPr>
          <a:lstStyle/>
          <a:p>
            <a:pPr marL="0" indent="0" algn="ctr">
              <a:buNone/>
            </a:pPr>
            <a:r>
              <a:rPr lang="hu-HU" sz="2800" dirty="0"/>
              <a:t>OT eszköz log-ok és forgalmak mentése és tárolása</a:t>
            </a:r>
          </a:p>
        </p:txBody>
      </p:sp>
      <p:pic>
        <p:nvPicPr>
          <p:cNvPr id="4" name="Picture 3" descr="A képen szöveg, clipart látható&#10;&#10;Automatikusan generált leírás">
            <a:extLst>
              <a:ext uri="{FF2B5EF4-FFF2-40B4-BE49-F238E27FC236}">
                <a16:creationId xmlns:a16="http://schemas.microsoft.com/office/drawing/2014/main" id="{FB00888E-E7DD-332A-841D-79218166821E}"/>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15600" y="1828800"/>
            <a:ext cx="1499235" cy="279400"/>
          </a:xfrm>
          <a:prstGeom prst="rect">
            <a:avLst/>
          </a:prstGeom>
          <a:noFill/>
        </p:spPr>
      </p:pic>
    </p:spTree>
    <p:extLst>
      <p:ext uri="{BB962C8B-B14F-4D97-AF65-F5344CB8AC3E}">
        <p14:creationId xmlns:p14="http://schemas.microsoft.com/office/powerpoint/2010/main" val="105941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31EDC3-CDED-79A1-BB0A-1D5A24D5512E}"/>
              </a:ext>
            </a:extLst>
          </p:cNvPr>
          <p:cNvSpPr>
            <a:spLocks noGrp="1"/>
          </p:cNvSpPr>
          <p:nvPr>
            <p:ph type="sldNum" sz="quarter" idx="12"/>
          </p:nvPr>
        </p:nvSpPr>
        <p:spPr/>
        <p:txBody>
          <a:bodyPr/>
          <a:lstStyle/>
          <a:p>
            <a:fld id="{3C6863D3-0438-440B-9B18-903EFF5BE46F}" type="slidenum">
              <a:rPr lang="en-US" smtClean="0"/>
              <a:pPr/>
              <a:t>15</a:t>
            </a:fld>
            <a:endParaRPr lang="en-US" dirty="0"/>
          </a:p>
        </p:txBody>
      </p:sp>
      <p:sp>
        <p:nvSpPr>
          <p:cNvPr id="3" name="Text Placeholder 2">
            <a:extLst>
              <a:ext uri="{FF2B5EF4-FFF2-40B4-BE49-F238E27FC236}">
                <a16:creationId xmlns:a16="http://schemas.microsoft.com/office/drawing/2014/main" id="{B9F0F320-0EED-0575-57E7-343C32D71CA7}"/>
              </a:ext>
            </a:extLst>
          </p:cNvPr>
          <p:cNvSpPr>
            <a:spLocks noGrp="1"/>
          </p:cNvSpPr>
          <p:nvPr>
            <p:ph type="body" sz="quarter" idx="15"/>
          </p:nvPr>
        </p:nvSpPr>
        <p:spPr>
          <a:xfrm>
            <a:off x="0" y="6489700"/>
            <a:ext cx="12192000" cy="254000"/>
          </a:xfrm>
        </p:spPr>
        <p:txBody>
          <a:bodyPr/>
          <a:lstStyle/>
          <a:p>
            <a:pPr algn="ctr"/>
            <a:r>
              <a:rPr lang="hu-HU" sz="2400" dirty="0" err="1"/>
              <a:t>Securirity</a:t>
            </a:r>
            <a:r>
              <a:rPr lang="hu-HU" sz="2400" dirty="0"/>
              <a:t> Incident and Event Management - SIEM </a:t>
            </a:r>
          </a:p>
        </p:txBody>
      </p:sp>
      <p:sp>
        <p:nvSpPr>
          <p:cNvPr id="5" name="Text Placeholder 4">
            <a:extLst>
              <a:ext uri="{FF2B5EF4-FFF2-40B4-BE49-F238E27FC236}">
                <a16:creationId xmlns:a16="http://schemas.microsoft.com/office/drawing/2014/main" id="{44EA122D-609F-62AA-50BC-85BFD3222F42}"/>
              </a:ext>
            </a:extLst>
          </p:cNvPr>
          <p:cNvSpPr>
            <a:spLocks noGrp="1"/>
          </p:cNvSpPr>
          <p:nvPr>
            <p:ph type="body" sz="quarter" idx="14"/>
          </p:nvPr>
        </p:nvSpPr>
        <p:spPr/>
        <p:txBody>
          <a:bodyPr/>
          <a:lstStyle/>
          <a:p>
            <a:endParaRPr lang="hu-HU"/>
          </a:p>
        </p:txBody>
      </p:sp>
      <p:sp>
        <p:nvSpPr>
          <p:cNvPr id="6" name="Title 5">
            <a:extLst>
              <a:ext uri="{FF2B5EF4-FFF2-40B4-BE49-F238E27FC236}">
                <a16:creationId xmlns:a16="http://schemas.microsoft.com/office/drawing/2014/main" id="{AD0779B9-E3CF-E5C6-55E2-281207078576}"/>
              </a:ext>
            </a:extLst>
          </p:cNvPr>
          <p:cNvSpPr>
            <a:spLocks noGrp="1"/>
          </p:cNvSpPr>
          <p:nvPr>
            <p:ph type="title"/>
          </p:nvPr>
        </p:nvSpPr>
        <p:spPr/>
        <p:txBody>
          <a:bodyPr/>
          <a:lstStyle/>
          <a:p>
            <a:endParaRPr lang="hu-HU"/>
          </a:p>
        </p:txBody>
      </p:sp>
      <p:pic>
        <p:nvPicPr>
          <p:cNvPr id="7" name="Picture 6" descr="A picture containing electric blue, text, majorelle blue, blue">
            <a:extLst>
              <a:ext uri="{FF2B5EF4-FFF2-40B4-BE49-F238E27FC236}">
                <a16:creationId xmlns:a16="http://schemas.microsoft.com/office/drawing/2014/main" id="{9EE35D52-7446-48BA-2AC9-70773C45DFDD}"/>
              </a:ext>
            </a:extLst>
          </p:cNvPr>
          <p:cNvPicPr>
            <a:picLocks noChangeAspect="1"/>
          </p:cNvPicPr>
          <p:nvPr/>
        </p:nvPicPr>
        <p:blipFill>
          <a:blip r:embed="rId2"/>
          <a:stretch>
            <a:fillRect/>
          </a:stretch>
        </p:blipFill>
        <p:spPr>
          <a:xfrm>
            <a:off x="6299" y="1495"/>
            <a:ext cx="12185701" cy="1579418"/>
          </a:xfrm>
          <a:prstGeom prst="rect">
            <a:avLst/>
          </a:prstGeom>
        </p:spPr>
      </p:pic>
      <p:sp>
        <p:nvSpPr>
          <p:cNvPr id="13" name="Content Placeholder 3">
            <a:extLst>
              <a:ext uri="{FF2B5EF4-FFF2-40B4-BE49-F238E27FC236}">
                <a16:creationId xmlns:a16="http://schemas.microsoft.com/office/drawing/2014/main" id="{C2898F8F-50C0-B7C5-763B-807C82A77D1C}"/>
              </a:ext>
            </a:extLst>
          </p:cNvPr>
          <p:cNvSpPr>
            <a:spLocks noGrp="1"/>
          </p:cNvSpPr>
          <p:nvPr>
            <p:ph sz="quarter" idx="16"/>
          </p:nvPr>
        </p:nvSpPr>
        <p:spPr>
          <a:xfrm>
            <a:off x="1" y="1543274"/>
            <a:ext cx="12185700" cy="497114"/>
          </a:xfrm>
        </p:spPr>
        <p:txBody>
          <a:bodyPr>
            <a:normAutofit fontScale="92500" lnSpcReduction="10000"/>
          </a:bodyPr>
          <a:lstStyle/>
          <a:p>
            <a:pPr marL="0" indent="0" algn="ctr">
              <a:buNone/>
            </a:pPr>
            <a:r>
              <a:rPr lang="hu-HU" sz="2800" dirty="0"/>
              <a:t>OT eszköz log-ok és forgalmak elemzése</a:t>
            </a:r>
          </a:p>
        </p:txBody>
      </p:sp>
      <p:pic>
        <p:nvPicPr>
          <p:cNvPr id="1027" name="Picture 7">
            <a:extLst>
              <a:ext uri="{FF2B5EF4-FFF2-40B4-BE49-F238E27FC236}">
                <a16:creationId xmlns:a16="http://schemas.microsoft.com/office/drawing/2014/main" id="{1F136FA3-7ADF-7999-C2C8-9B6B91FEB2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1850" y="1930127"/>
            <a:ext cx="10299700" cy="4536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descr="A képen szöveg, clipart látható&#10;&#10;Automatikusan generált leírás">
            <a:extLst>
              <a:ext uri="{FF2B5EF4-FFF2-40B4-BE49-F238E27FC236}">
                <a16:creationId xmlns:a16="http://schemas.microsoft.com/office/drawing/2014/main" id="{944BB5EC-C165-57C2-9054-0532EBDBB4D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15600" y="1828800"/>
            <a:ext cx="1499235" cy="279400"/>
          </a:xfrm>
          <a:prstGeom prst="rect">
            <a:avLst/>
          </a:prstGeom>
          <a:noFill/>
        </p:spPr>
      </p:pic>
    </p:spTree>
    <p:extLst>
      <p:ext uri="{BB962C8B-B14F-4D97-AF65-F5344CB8AC3E}">
        <p14:creationId xmlns:p14="http://schemas.microsoft.com/office/powerpoint/2010/main" val="597426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31EDC3-CDED-79A1-BB0A-1D5A24D5512E}"/>
              </a:ext>
            </a:extLst>
          </p:cNvPr>
          <p:cNvSpPr>
            <a:spLocks noGrp="1"/>
          </p:cNvSpPr>
          <p:nvPr>
            <p:ph type="sldNum" sz="quarter" idx="12"/>
          </p:nvPr>
        </p:nvSpPr>
        <p:spPr/>
        <p:txBody>
          <a:bodyPr/>
          <a:lstStyle/>
          <a:p>
            <a:fld id="{3C6863D3-0438-440B-9B18-903EFF5BE46F}" type="slidenum">
              <a:rPr lang="en-US" smtClean="0"/>
              <a:pPr/>
              <a:t>16</a:t>
            </a:fld>
            <a:endParaRPr lang="en-US" dirty="0"/>
          </a:p>
        </p:txBody>
      </p:sp>
      <p:sp>
        <p:nvSpPr>
          <p:cNvPr id="3" name="Text Placeholder 2">
            <a:extLst>
              <a:ext uri="{FF2B5EF4-FFF2-40B4-BE49-F238E27FC236}">
                <a16:creationId xmlns:a16="http://schemas.microsoft.com/office/drawing/2014/main" id="{B9F0F320-0EED-0575-57E7-343C32D71CA7}"/>
              </a:ext>
            </a:extLst>
          </p:cNvPr>
          <p:cNvSpPr>
            <a:spLocks noGrp="1"/>
          </p:cNvSpPr>
          <p:nvPr>
            <p:ph type="body" sz="quarter" idx="15"/>
          </p:nvPr>
        </p:nvSpPr>
        <p:spPr/>
        <p:txBody>
          <a:bodyPr/>
          <a:lstStyle/>
          <a:p>
            <a:endParaRPr lang="hu-HU"/>
          </a:p>
        </p:txBody>
      </p:sp>
      <p:sp>
        <p:nvSpPr>
          <p:cNvPr id="5" name="Text Placeholder 4">
            <a:extLst>
              <a:ext uri="{FF2B5EF4-FFF2-40B4-BE49-F238E27FC236}">
                <a16:creationId xmlns:a16="http://schemas.microsoft.com/office/drawing/2014/main" id="{44EA122D-609F-62AA-50BC-85BFD3222F42}"/>
              </a:ext>
            </a:extLst>
          </p:cNvPr>
          <p:cNvSpPr>
            <a:spLocks noGrp="1"/>
          </p:cNvSpPr>
          <p:nvPr>
            <p:ph type="body" sz="quarter" idx="14"/>
          </p:nvPr>
        </p:nvSpPr>
        <p:spPr/>
        <p:txBody>
          <a:bodyPr/>
          <a:lstStyle/>
          <a:p>
            <a:endParaRPr lang="hu-HU"/>
          </a:p>
        </p:txBody>
      </p:sp>
      <p:sp>
        <p:nvSpPr>
          <p:cNvPr id="6" name="Title 5">
            <a:extLst>
              <a:ext uri="{FF2B5EF4-FFF2-40B4-BE49-F238E27FC236}">
                <a16:creationId xmlns:a16="http://schemas.microsoft.com/office/drawing/2014/main" id="{AD0779B9-E3CF-E5C6-55E2-281207078576}"/>
              </a:ext>
            </a:extLst>
          </p:cNvPr>
          <p:cNvSpPr>
            <a:spLocks noGrp="1"/>
          </p:cNvSpPr>
          <p:nvPr>
            <p:ph type="title"/>
          </p:nvPr>
        </p:nvSpPr>
        <p:spPr/>
        <p:txBody>
          <a:bodyPr/>
          <a:lstStyle/>
          <a:p>
            <a:endParaRPr lang="hu-HU"/>
          </a:p>
        </p:txBody>
      </p:sp>
      <p:pic>
        <p:nvPicPr>
          <p:cNvPr id="7" name="Picture 6" descr="A picture containing electric blue, text, majorelle blue, blue">
            <a:extLst>
              <a:ext uri="{FF2B5EF4-FFF2-40B4-BE49-F238E27FC236}">
                <a16:creationId xmlns:a16="http://schemas.microsoft.com/office/drawing/2014/main" id="{9EE35D52-7446-48BA-2AC9-70773C45DFDD}"/>
              </a:ext>
            </a:extLst>
          </p:cNvPr>
          <p:cNvPicPr>
            <a:picLocks noChangeAspect="1"/>
          </p:cNvPicPr>
          <p:nvPr/>
        </p:nvPicPr>
        <p:blipFill>
          <a:blip r:embed="rId2"/>
          <a:stretch>
            <a:fillRect/>
          </a:stretch>
        </p:blipFill>
        <p:spPr>
          <a:xfrm>
            <a:off x="6299" y="1495"/>
            <a:ext cx="12185701" cy="1579418"/>
          </a:xfrm>
          <a:prstGeom prst="rect">
            <a:avLst/>
          </a:prstGeom>
        </p:spPr>
      </p:pic>
      <p:sp>
        <p:nvSpPr>
          <p:cNvPr id="13" name="Content Placeholder 3">
            <a:extLst>
              <a:ext uri="{FF2B5EF4-FFF2-40B4-BE49-F238E27FC236}">
                <a16:creationId xmlns:a16="http://schemas.microsoft.com/office/drawing/2014/main" id="{C2898F8F-50C0-B7C5-763B-807C82A77D1C}"/>
              </a:ext>
            </a:extLst>
          </p:cNvPr>
          <p:cNvSpPr>
            <a:spLocks noGrp="1"/>
          </p:cNvSpPr>
          <p:nvPr>
            <p:ph sz="quarter" idx="16"/>
          </p:nvPr>
        </p:nvSpPr>
        <p:spPr>
          <a:xfrm>
            <a:off x="368300" y="1543274"/>
            <a:ext cx="11226800" cy="497114"/>
          </a:xfrm>
        </p:spPr>
        <p:txBody>
          <a:bodyPr>
            <a:normAutofit lnSpcReduction="10000"/>
          </a:bodyPr>
          <a:lstStyle/>
          <a:p>
            <a:pPr marL="0" indent="0" algn="ctr">
              <a:buNone/>
            </a:pPr>
            <a:r>
              <a:rPr lang="hu-HU" sz="2800" dirty="0"/>
              <a:t>OT rendszer sérülékenységei</a:t>
            </a:r>
          </a:p>
        </p:txBody>
      </p:sp>
      <p:pic>
        <p:nvPicPr>
          <p:cNvPr id="19" name="Picture 18">
            <a:extLst>
              <a:ext uri="{FF2B5EF4-FFF2-40B4-BE49-F238E27FC236}">
                <a16:creationId xmlns:a16="http://schemas.microsoft.com/office/drawing/2014/main" id="{4E97C8E0-FA12-68AC-9A9F-8D7BAC95D896}"/>
              </a:ext>
            </a:extLst>
          </p:cNvPr>
          <p:cNvPicPr>
            <a:picLocks noChangeAspect="1"/>
          </p:cNvPicPr>
          <p:nvPr/>
        </p:nvPicPr>
        <p:blipFill>
          <a:blip r:embed="rId3"/>
          <a:stretch>
            <a:fillRect/>
          </a:stretch>
        </p:blipFill>
        <p:spPr>
          <a:xfrm>
            <a:off x="1633537" y="1983817"/>
            <a:ext cx="8924925" cy="4562455"/>
          </a:xfrm>
          <a:prstGeom prst="rect">
            <a:avLst/>
          </a:prstGeom>
        </p:spPr>
      </p:pic>
      <p:pic>
        <p:nvPicPr>
          <p:cNvPr id="4" name="Picture 3" descr="A képen szöveg, clipart látható&#10;&#10;Automatikusan generált leírás">
            <a:extLst>
              <a:ext uri="{FF2B5EF4-FFF2-40B4-BE49-F238E27FC236}">
                <a16:creationId xmlns:a16="http://schemas.microsoft.com/office/drawing/2014/main" id="{62AA9A40-565E-46F3-1F68-FE0A4C5475A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15600" y="1828800"/>
            <a:ext cx="1499235" cy="279400"/>
          </a:xfrm>
          <a:prstGeom prst="rect">
            <a:avLst/>
          </a:prstGeom>
          <a:noFill/>
        </p:spPr>
      </p:pic>
    </p:spTree>
    <p:extLst>
      <p:ext uri="{BB962C8B-B14F-4D97-AF65-F5344CB8AC3E}">
        <p14:creationId xmlns:p14="http://schemas.microsoft.com/office/powerpoint/2010/main" val="3992063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31EDC3-CDED-79A1-BB0A-1D5A24D5512E}"/>
              </a:ext>
            </a:extLst>
          </p:cNvPr>
          <p:cNvSpPr>
            <a:spLocks noGrp="1"/>
          </p:cNvSpPr>
          <p:nvPr>
            <p:ph type="sldNum" sz="quarter" idx="12"/>
          </p:nvPr>
        </p:nvSpPr>
        <p:spPr/>
        <p:txBody>
          <a:bodyPr/>
          <a:lstStyle/>
          <a:p>
            <a:fld id="{3C6863D3-0438-440B-9B18-903EFF5BE46F}" type="slidenum">
              <a:rPr lang="en-US" smtClean="0"/>
              <a:pPr/>
              <a:t>17</a:t>
            </a:fld>
            <a:endParaRPr lang="en-US" dirty="0"/>
          </a:p>
        </p:txBody>
      </p:sp>
      <p:sp>
        <p:nvSpPr>
          <p:cNvPr id="3" name="Text Placeholder 2">
            <a:extLst>
              <a:ext uri="{FF2B5EF4-FFF2-40B4-BE49-F238E27FC236}">
                <a16:creationId xmlns:a16="http://schemas.microsoft.com/office/drawing/2014/main" id="{B9F0F320-0EED-0575-57E7-343C32D71CA7}"/>
              </a:ext>
            </a:extLst>
          </p:cNvPr>
          <p:cNvSpPr>
            <a:spLocks noGrp="1"/>
          </p:cNvSpPr>
          <p:nvPr>
            <p:ph type="body" sz="quarter" idx="15"/>
          </p:nvPr>
        </p:nvSpPr>
        <p:spPr/>
        <p:txBody>
          <a:bodyPr/>
          <a:lstStyle/>
          <a:p>
            <a:endParaRPr lang="hu-HU"/>
          </a:p>
        </p:txBody>
      </p:sp>
      <p:sp>
        <p:nvSpPr>
          <p:cNvPr id="5" name="Text Placeholder 4">
            <a:extLst>
              <a:ext uri="{FF2B5EF4-FFF2-40B4-BE49-F238E27FC236}">
                <a16:creationId xmlns:a16="http://schemas.microsoft.com/office/drawing/2014/main" id="{44EA122D-609F-62AA-50BC-85BFD3222F42}"/>
              </a:ext>
            </a:extLst>
          </p:cNvPr>
          <p:cNvSpPr>
            <a:spLocks noGrp="1"/>
          </p:cNvSpPr>
          <p:nvPr>
            <p:ph type="body" sz="quarter" idx="14"/>
          </p:nvPr>
        </p:nvSpPr>
        <p:spPr/>
        <p:txBody>
          <a:bodyPr/>
          <a:lstStyle/>
          <a:p>
            <a:endParaRPr lang="hu-HU"/>
          </a:p>
        </p:txBody>
      </p:sp>
      <p:sp>
        <p:nvSpPr>
          <p:cNvPr id="6" name="Title 5">
            <a:extLst>
              <a:ext uri="{FF2B5EF4-FFF2-40B4-BE49-F238E27FC236}">
                <a16:creationId xmlns:a16="http://schemas.microsoft.com/office/drawing/2014/main" id="{AD0779B9-E3CF-E5C6-55E2-281207078576}"/>
              </a:ext>
            </a:extLst>
          </p:cNvPr>
          <p:cNvSpPr>
            <a:spLocks noGrp="1"/>
          </p:cNvSpPr>
          <p:nvPr>
            <p:ph type="title"/>
          </p:nvPr>
        </p:nvSpPr>
        <p:spPr/>
        <p:txBody>
          <a:bodyPr/>
          <a:lstStyle/>
          <a:p>
            <a:endParaRPr lang="hu-HU"/>
          </a:p>
        </p:txBody>
      </p:sp>
      <p:pic>
        <p:nvPicPr>
          <p:cNvPr id="7" name="Picture 6" descr="A picture containing electric blue, text, majorelle blue, blue">
            <a:extLst>
              <a:ext uri="{FF2B5EF4-FFF2-40B4-BE49-F238E27FC236}">
                <a16:creationId xmlns:a16="http://schemas.microsoft.com/office/drawing/2014/main" id="{9EE35D52-7446-48BA-2AC9-70773C45DFDD}"/>
              </a:ext>
            </a:extLst>
          </p:cNvPr>
          <p:cNvPicPr>
            <a:picLocks noChangeAspect="1"/>
          </p:cNvPicPr>
          <p:nvPr/>
        </p:nvPicPr>
        <p:blipFill>
          <a:blip r:embed="rId2"/>
          <a:stretch>
            <a:fillRect/>
          </a:stretch>
        </p:blipFill>
        <p:spPr>
          <a:xfrm>
            <a:off x="6299" y="1495"/>
            <a:ext cx="12185701" cy="1579418"/>
          </a:xfrm>
          <a:prstGeom prst="rect">
            <a:avLst/>
          </a:prstGeom>
        </p:spPr>
      </p:pic>
      <p:sp>
        <p:nvSpPr>
          <p:cNvPr id="13" name="Content Placeholder 3">
            <a:extLst>
              <a:ext uri="{FF2B5EF4-FFF2-40B4-BE49-F238E27FC236}">
                <a16:creationId xmlns:a16="http://schemas.microsoft.com/office/drawing/2014/main" id="{C2898F8F-50C0-B7C5-763B-807C82A77D1C}"/>
              </a:ext>
            </a:extLst>
          </p:cNvPr>
          <p:cNvSpPr>
            <a:spLocks noGrp="1"/>
          </p:cNvSpPr>
          <p:nvPr>
            <p:ph sz="quarter" idx="16"/>
          </p:nvPr>
        </p:nvSpPr>
        <p:spPr>
          <a:xfrm>
            <a:off x="368300" y="1543274"/>
            <a:ext cx="11226800" cy="497114"/>
          </a:xfrm>
        </p:spPr>
        <p:txBody>
          <a:bodyPr>
            <a:normAutofit lnSpcReduction="10000"/>
          </a:bodyPr>
          <a:lstStyle/>
          <a:p>
            <a:pPr marL="0" indent="0" algn="ctr">
              <a:buNone/>
            </a:pPr>
            <a:r>
              <a:rPr lang="hu-HU" sz="2800" dirty="0"/>
              <a:t>OT rendszer kockázati besorolása</a:t>
            </a:r>
          </a:p>
        </p:txBody>
      </p:sp>
      <p:pic>
        <p:nvPicPr>
          <p:cNvPr id="17" name="Picture 16">
            <a:extLst>
              <a:ext uri="{FF2B5EF4-FFF2-40B4-BE49-F238E27FC236}">
                <a16:creationId xmlns:a16="http://schemas.microsoft.com/office/drawing/2014/main" id="{51DB22F5-DA99-6780-8D70-4D236FE4307A}"/>
              </a:ext>
            </a:extLst>
          </p:cNvPr>
          <p:cNvPicPr>
            <a:picLocks noChangeAspect="1"/>
          </p:cNvPicPr>
          <p:nvPr/>
        </p:nvPicPr>
        <p:blipFill>
          <a:blip r:embed="rId3"/>
          <a:stretch>
            <a:fillRect/>
          </a:stretch>
        </p:blipFill>
        <p:spPr>
          <a:xfrm>
            <a:off x="1624012" y="2013271"/>
            <a:ext cx="8943975" cy="4686316"/>
          </a:xfrm>
          <a:prstGeom prst="rect">
            <a:avLst/>
          </a:prstGeom>
        </p:spPr>
      </p:pic>
      <p:pic>
        <p:nvPicPr>
          <p:cNvPr id="4" name="Picture 3" descr="A képen szöveg, clipart látható&#10;&#10;Automatikusan generált leírás">
            <a:extLst>
              <a:ext uri="{FF2B5EF4-FFF2-40B4-BE49-F238E27FC236}">
                <a16:creationId xmlns:a16="http://schemas.microsoft.com/office/drawing/2014/main" id="{4FD32F14-43BB-EE8C-ECA1-85F646D27C3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15600" y="1828800"/>
            <a:ext cx="1499235" cy="279400"/>
          </a:xfrm>
          <a:prstGeom prst="rect">
            <a:avLst/>
          </a:prstGeom>
          <a:noFill/>
        </p:spPr>
      </p:pic>
    </p:spTree>
    <p:extLst>
      <p:ext uri="{BB962C8B-B14F-4D97-AF65-F5344CB8AC3E}">
        <p14:creationId xmlns:p14="http://schemas.microsoft.com/office/powerpoint/2010/main" val="4162733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31EDC3-CDED-79A1-BB0A-1D5A24D5512E}"/>
              </a:ext>
            </a:extLst>
          </p:cNvPr>
          <p:cNvSpPr>
            <a:spLocks noGrp="1"/>
          </p:cNvSpPr>
          <p:nvPr>
            <p:ph type="sldNum" sz="quarter" idx="12"/>
          </p:nvPr>
        </p:nvSpPr>
        <p:spPr/>
        <p:txBody>
          <a:bodyPr/>
          <a:lstStyle/>
          <a:p>
            <a:fld id="{3C6863D3-0438-440B-9B18-903EFF5BE46F}" type="slidenum">
              <a:rPr lang="en-US" smtClean="0"/>
              <a:pPr/>
              <a:t>18</a:t>
            </a:fld>
            <a:endParaRPr lang="en-US" dirty="0"/>
          </a:p>
        </p:txBody>
      </p:sp>
      <p:sp>
        <p:nvSpPr>
          <p:cNvPr id="3" name="Text Placeholder 2">
            <a:extLst>
              <a:ext uri="{FF2B5EF4-FFF2-40B4-BE49-F238E27FC236}">
                <a16:creationId xmlns:a16="http://schemas.microsoft.com/office/drawing/2014/main" id="{B9F0F320-0EED-0575-57E7-343C32D71CA7}"/>
              </a:ext>
            </a:extLst>
          </p:cNvPr>
          <p:cNvSpPr>
            <a:spLocks noGrp="1"/>
          </p:cNvSpPr>
          <p:nvPr>
            <p:ph type="body" sz="quarter" idx="15"/>
          </p:nvPr>
        </p:nvSpPr>
        <p:spPr/>
        <p:txBody>
          <a:bodyPr/>
          <a:lstStyle/>
          <a:p>
            <a:endParaRPr lang="hu-HU"/>
          </a:p>
        </p:txBody>
      </p:sp>
      <p:sp>
        <p:nvSpPr>
          <p:cNvPr id="4" name="Content Placeholder 3">
            <a:extLst>
              <a:ext uri="{FF2B5EF4-FFF2-40B4-BE49-F238E27FC236}">
                <a16:creationId xmlns:a16="http://schemas.microsoft.com/office/drawing/2014/main" id="{F3CC4D12-D26A-7D1B-04BB-422D9483B7F0}"/>
              </a:ext>
            </a:extLst>
          </p:cNvPr>
          <p:cNvSpPr>
            <a:spLocks noGrp="1"/>
          </p:cNvSpPr>
          <p:nvPr>
            <p:ph sz="quarter" idx="16"/>
          </p:nvPr>
        </p:nvSpPr>
        <p:spPr>
          <a:xfrm>
            <a:off x="482600" y="1619013"/>
            <a:ext cx="11226800" cy="4756387"/>
          </a:xfrm>
        </p:spPr>
        <p:txBody>
          <a:bodyPr>
            <a:normAutofit/>
          </a:bodyPr>
          <a:lstStyle/>
          <a:p>
            <a:pPr marL="0" indent="0">
              <a:buNone/>
            </a:pPr>
            <a:r>
              <a:rPr lang="hu-HU" sz="3200" b="1" u="sng" dirty="0"/>
              <a:t>Mi lett megoldva? </a:t>
            </a:r>
          </a:p>
          <a:p>
            <a:endParaRPr lang="hu-HU" sz="2800" dirty="0"/>
          </a:p>
        </p:txBody>
      </p:sp>
      <p:sp>
        <p:nvSpPr>
          <p:cNvPr id="5" name="Text Placeholder 4">
            <a:extLst>
              <a:ext uri="{FF2B5EF4-FFF2-40B4-BE49-F238E27FC236}">
                <a16:creationId xmlns:a16="http://schemas.microsoft.com/office/drawing/2014/main" id="{44EA122D-609F-62AA-50BC-85BFD3222F42}"/>
              </a:ext>
            </a:extLst>
          </p:cNvPr>
          <p:cNvSpPr>
            <a:spLocks noGrp="1"/>
          </p:cNvSpPr>
          <p:nvPr>
            <p:ph type="body" sz="quarter" idx="14"/>
          </p:nvPr>
        </p:nvSpPr>
        <p:spPr/>
        <p:txBody>
          <a:bodyPr/>
          <a:lstStyle/>
          <a:p>
            <a:endParaRPr lang="hu-HU"/>
          </a:p>
        </p:txBody>
      </p:sp>
      <p:sp>
        <p:nvSpPr>
          <p:cNvPr id="6" name="Title 5">
            <a:extLst>
              <a:ext uri="{FF2B5EF4-FFF2-40B4-BE49-F238E27FC236}">
                <a16:creationId xmlns:a16="http://schemas.microsoft.com/office/drawing/2014/main" id="{AD0779B9-E3CF-E5C6-55E2-281207078576}"/>
              </a:ext>
            </a:extLst>
          </p:cNvPr>
          <p:cNvSpPr>
            <a:spLocks noGrp="1"/>
          </p:cNvSpPr>
          <p:nvPr>
            <p:ph type="title"/>
          </p:nvPr>
        </p:nvSpPr>
        <p:spPr/>
        <p:txBody>
          <a:bodyPr/>
          <a:lstStyle/>
          <a:p>
            <a:endParaRPr lang="hu-HU"/>
          </a:p>
        </p:txBody>
      </p:sp>
      <p:pic>
        <p:nvPicPr>
          <p:cNvPr id="7" name="Picture 6" descr="A picture containing electric blue, text, majorelle blue, blue">
            <a:extLst>
              <a:ext uri="{FF2B5EF4-FFF2-40B4-BE49-F238E27FC236}">
                <a16:creationId xmlns:a16="http://schemas.microsoft.com/office/drawing/2014/main" id="{9EE35D52-7446-48BA-2AC9-70773C45DFDD}"/>
              </a:ext>
            </a:extLst>
          </p:cNvPr>
          <p:cNvPicPr>
            <a:picLocks noChangeAspect="1"/>
          </p:cNvPicPr>
          <p:nvPr/>
        </p:nvPicPr>
        <p:blipFill>
          <a:blip r:embed="rId2"/>
          <a:stretch>
            <a:fillRect/>
          </a:stretch>
        </p:blipFill>
        <p:spPr>
          <a:xfrm>
            <a:off x="6299" y="1495"/>
            <a:ext cx="12185701" cy="1579418"/>
          </a:xfrm>
          <a:prstGeom prst="rect">
            <a:avLst/>
          </a:prstGeom>
        </p:spPr>
      </p:pic>
      <p:sp>
        <p:nvSpPr>
          <p:cNvPr id="8" name="TextBox 7">
            <a:extLst>
              <a:ext uri="{FF2B5EF4-FFF2-40B4-BE49-F238E27FC236}">
                <a16:creationId xmlns:a16="http://schemas.microsoft.com/office/drawing/2014/main" id="{EA255DD7-9D2E-A741-9AC4-6CF5AF89BF4F}"/>
              </a:ext>
            </a:extLst>
          </p:cNvPr>
          <p:cNvSpPr txBox="1"/>
          <p:nvPr/>
        </p:nvSpPr>
        <p:spPr>
          <a:xfrm>
            <a:off x="520789" y="2866798"/>
            <a:ext cx="3780197" cy="369332"/>
          </a:xfrm>
          <a:prstGeom prst="rect">
            <a:avLst/>
          </a:prstGeom>
          <a:solidFill>
            <a:schemeClr val="accent1"/>
          </a:solidFill>
        </p:spPr>
        <p:txBody>
          <a:bodyPr wrap="square" rtlCol="0">
            <a:spAutoFit/>
          </a:bodyPr>
          <a:lstStyle/>
          <a:p>
            <a:pPr algn="ctr"/>
            <a:r>
              <a:rPr lang="hu-HU" dirty="0">
                <a:solidFill>
                  <a:schemeClr val="bg1"/>
                </a:solidFill>
              </a:rPr>
              <a:t>Vagyonleltár</a:t>
            </a:r>
          </a:p>
        </p:txBody>
      </p:sp>
      <p:sp>
        <p:nvSpPr>
          <p:cNvPr id="9" name="Rectangle 8">
            <a:extLst>
              <a:ext uri="{FF2B5EF4-FFF2-40B4-BE49-F238E27FC236}">
                <a16:creationId xmlns:a16="http://schemas.microsoft.com/office/drawing/2014/main" id="{3CF67581-E2D4-DE57-B443-01A9FC8577DD}"/>
              </a:ext>
            </a:extLst>
          </p:cNvPr>
          <p:cNvSpPr/>
          <p:nvPr/>
        </p:nvSpPr>
        <p:spPr>
          <a:xfrm>
            <a:off x="510035" y="3365031"/>
            <a:ext cx="1828800" cy="182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t>Eszközök </a:t>
            </a:r>
            <a:r>
              <a:rPr lang="hu-HU" dirty="0" err="1"/>
              <a:t>nyomonkövetése</a:t>
            </a:r>
            <a:r>
              <a:rPr lang="hu-HU" dirty="0"/>
              <a:t> </a:t>
            </a:r>
          </a:p>
        </p:txBody>
      </p:sp>
      <p:sp>
        <p:nvSpPr>
          <p:cNvPr id="11" name="TextBox 10">
            <a:extLst>
              <a:ext uri="{FF2B5EF4-FFF2-40B4-BE49-F238E27FC236}">
                <a16:creationId xmlns:a16="http://schemas.microsoft.com/office/drawing/2014/main" id="{F618BD2C-B01F-0CC8-E46F-A44188583120}"/>
              </a:ext>
            </a:extLst>
          </p:cNvPr>
          <p:cNvSpPr txBox="1"/>
          <p:nvPr/>
        </p:nvSpPr>
        <p:spPr>
          <a:xfrm>
            <a:off x="8396441" y="2866798"/>
            <a:ext cx="3300259" cy="369332"/>
          </a:xfrm>
          <a:prstGeom prst="rect">
            <a:avLst/>
          </a:prstGeom>
          <a:solidFill>
            <a:schemeClr val="accent1"/>
          </a:solidFill>
        </p:spPr>
        <p:txBody>
          <a:bodyPr wrap="square" rtlCol="0">
            <a:spAutoFit/>
          </a:bodyPr>
          <a:lstStyle/>
          <a:p>
            <a:pPr algn="ctr"/>
            <a:r>
              <a:rPr lang="hu-HU" dirty="0">
                <a:solidFill>
                  <a:schemeClr val="bg1"/>
                </a:solidFill>
              </a:rPr>
              <a:t>Folyamatos biztonsági monitoring</a:t>
            </a:r>
          </a:p>
        </p:txBody>
      </p:sp>
      <p:sp>
        <p:nvSpPr>
          <p:cNvPr id="12" name="Rectangle 11">
            <a:extLst>
              <a:ext uri="{FF2B5EF4-FFF2-40B4-BE49-F238E27FC236}">
                <a16:creationId xmlns:a16="http://schemas.microsoft.com/office/drawing/2014/main" id="{380268B0-D684-1C2F-56A5-8D6DEF81680C}"/>
              </a:ext>
            </a:extLst>
          </p:cNvPr>
          <p:cNvSpPr/>
          <p:nvPr/>
        </p:nvSpPr>
        <p:spPr>
          <a:xfrm>
            <a:off x="8388861" y="3365031"/>
            <a:ext cx="3320539" cy="182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hu-HU" dirty="0"/>
              <a:t>Logelemzés</a:t>
            </a:r>
          </a:p>
          <a:p>
            <a:r>
              <a:rPr lang="hu-HU" dirty="0"/>
              <a:t>- OT/ICS eszközökre</a:t>
            </a:r>
          </a:p>
          <a:p>
            <a:r>
              <a:rPr lang="hu-HU" dirty="0"/>
              <a:t>- hálózati forgalomra,</a:t>
            </a:r>
          </a:p>
          <a:p>
            <a:r>
              <a:rPr lang="hu-HU" dirty="0"/>
              <a:t>- Fizikai rendszerekre</a:t>
            </a:r>
          </a:p>
        </p:txBody>
      </p:sp>
      <p:sp>
        <p:nvSpPr>
          <p:cNvPr id="13" name="TextBox 12">
            <a:extLst>
              <a:ext uri="{FF2B5EF4-FFF2-40B4-BE49-F238E27FC236}">
                <a16:creationId xmlns:a16="http://schemas.microsoft.com/office/drawing/2014/main" id="{3B224A24-4282-EC56-9551-A0B6EF98881B}"/>
              </a:ext>
            </a:extLst>
          </p:cNvPr>
          <p:cNvSpPr txBox="1"/>
          <p:nvPr/>
        </p:nvSpPr>
        <p:spPr>
          <a:xfrm>
            <a:off x="4454825" y="2866798"/>
            <a:ext cx="3745169" cy="369332"/>
          </a:xfrm>
          <a:prstGeom prst="rect">
            <a:avLst/>
          </a:prstGeom>
          <a:solidFill>
            <a:schemeClr val="accent1"/>
          </a:solidFill>
        </p:spPr>
        <p:txBody>
          <a:bodyPr wrap="square" rtlCol="0">
            <a:spAutoFit/>
          </a:bodyPr>
          <a:lstStyle>
            <a:defPPr>
              <a:defRPr lang="de-DE"/>
            </a:defPPr>
            <a:lvl1pPr algn="ctr">
              <a:defRPr>
                <a:solidFill>
                  <a:schemeClr val="bg1"/>
                </a:solidFill>
              </a:defRPr>
            </a:lvl1pPr>
          </a:lstStyle>
          <a:p>
            <a:r>
              <a:rPr lang="hu-HU" dirty="0"/>
              <a:t>Hálózati védelem</a:t>
            </a:r>
          </a:p>
        </p:txBody>
      </p:sp>
      <p:sp>
        <p:nvSpPr>
          <p:cNvPr id="14" name="Rectangle 13">
            <a:extLst>
              <a:ext uri="{FF2B5EF4-FFF2-40B4-BE49-F238E27FC236}">
                <a16:creationId xmlns:a16="http://schemas.microsoft.com/office/drawing/2014/main" id="{DFD6FC41-2DCD-0877-4140-246A1828455F}"/>
              </a:ext>
            </a:extLst>
          </p:cNvPr>
          <p:cNvSpPr/>
          <p:nvPr/>
        </p:nvSpPr>
        <p:spPr>
          <a:xfrm>
            <a:off x="4444685" y="3375015"/>
            <a:ext cx="1828800" cy="182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t>Az OT/ICS és IT hálózatok szétválasztása tűzfallal, „légrés/</a:t>
            </a:r>
            <a:r>
              <a:rPr lang="hu-HU" dirty="0" err="1"/>
              <a:t>airgap</a:t>
            </a:r>
            <a:r>
              <a:rPr lang="hu-HU" dirty="0"/>
              <a:t>” kialakítása</a:t>
            </a:r>
          </a:p>
        </p:txBody>
      </p:sp>
      <p:sp>
        <p:nvSpPr>
          <p:cNvPr id="15" name="Rectangle 14">
            <a:extLst>
              <a:ext uri="{FF2B5EF4-FFF2-40B4-BE49-F238E27FC236}">
                <a16:creationId xmlns:a16="http://schemas.microsoft.com/office/drawing/2014/main" id="{095EBB00-7309-0445-F7C3-C09CB3563F15}"/>
              </a:ext>
            </a:extLst>
          </p:cNvPr>
          <p:cNvSpPr/>
          <p:nvPr/>
        </p:nvSpPr>
        <p:spPr>
          <a:xfrm>
            <a:off x="6371808" y="3375015"/>
            <a:ext cx="1828800" cy="182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t>Hálózati forgalom monitorozása az ipari protokollokra is, kártékony kódok azonosítása</a:t>
            </a:r>
          </a:p>
        </p:txBody>
      </p:sp>
      <p:sp>
        <p:nvSpPr>
          <p:cNvPr id="16" name="Rectangle 15">
            <a:extLst>
              <a:ext uri="{FF2B5EF4-FFF2-40B4-BE49-F238E27FC236}">
                <a16:creationId xmlns:a16="http://schemas.microsoft.com/office/drawing/2014/main" id="{C09121FD-1FD7-EE31-4535-83B7904C7C3F}"/>
              </a:ext>
            </a:extLst>
          </p:cNvPr>
          <p:cNvSpPr/>
          <p:nvPr/>
        </p:nvSpPr>
        <p:spPr>
          <a:xfrm>
            <a:off x="2472186" y="3375015"/>
            <a:ext cx="1828800" cy="182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t>Eszközök </a:t>
            </a:r>
            <a:r>
              <a:rPr lang="hu-HU" dirty="0" err="1"/>
              <a:t>szoftvereinek</a:t>
            </a:r>
            <a:r>
              <a:rPr lang="hu-HU" dirty="0"/>
              <a:t>, konfigurációnak rendszeres mentése</a:t>
            </a:r>
          </a:p>
        </p:txBody>
      </p:sp>
      <p:pic>
        <p:nvPicPr>
          <p:cNvPr id="10" name="Picture 9" descr="A képen szöveg, clipart látható&#10;&#10;Automatikusan generált leírás">
            <a:extLst>
              <a:ext uri="{FF2B5EF4-FFF2-40B4-BE49-F238E27FC236}">
                <a16:creationId xmlns:a16="http://schemas.microsoft.com/office/drawing/2014/main" id="{906C78D1-73DE-711E-90C5-734B56B6FBC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515600" y="1828800"/>
            <a:ext cx="1499235" cy="279400"/>
          </a:xfrm>
          <a:prstGeom prst="rect">
            <a:avLst/>
          </a:prstGeom>
          <a:noFill/>
        </p:spPr>
      </p:pic>
    </p:spTree>
    <p:extLst>
      <p:ext uri="{BB962C8B-B14F-4D97-AF65-F5344CB8AC3E}">
        <p14:creationId xmlns:p14="http://schemas.microsoft.com/office/powerpoint/2010/main" val="2572754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1" grpId="0" animBg="1"/>
      <p:bldP spid="12" grpId="0" animBg="1"/>
      <p:bldP spid="13" grpId="0" animBg="1"/>
      <p:bldP spid="14" grpId="0" animBg="1"/>
      <p:bldP spid="15" grpId="0" animBg="1"/>
      <p:bldP spid="1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31EDC3-CDED-79A1-BB0A-1D5A24D5512E}"/>
              </a:ext>
            </a:extLst>
          </p:cNvPr>
          <p:cNvSpPr>
            <a:spLocks noGrp="1"/>
          </p:cNvSpPr>
          <p:nvPr>
            <p:ph type="sldNum" sz="quarter" idx="12"/>
          </p:nvPr>
        </p:nvSpPr>
        <p:spPr/>
        <p:txBody>
          <a:bodyPr/>
          <a:lstStyle/>
          <a:p>
            <a:fld id="{3C6863D3-0438-440B-9B18-903EFF5BE46F}" type="slidenum">
              <a:rPr lang="en-US" smtClean="0"/>
              <a:pPr/>
              <a:t>19</a:t>
            </a:fld>
            <a:endParaRPr lang="en-US" dirty="0"/>
          </a:p>
        </p:txBody>
      </p:sp>
      <p:sp>
        <p:nvSpPr>
          <p:cNvPr id="3" name="Text Placeholder 2">
            <a:extLst>
              <a:ext uri="{FF2B5EF4-FFF2-40B4-BE49-F238E27FC236}">
                <a16:creationId xmlns:a16="http://schemas.microsoft.com/office/drawing/2014/main" id="{B9F0F320-0EED-0575-57E7-343C32D71CA7}"/>
              </a:ext>
            </a:extLst>
          </p:cNvPr>
          <p:cNvSpPr>
            <a:spLocks noGrp="1"/>
          </p:cNvSpPr>
          <p:nvPr>
            <p:ph type="body" sz="quarter" idx="15"/>
          </p:nvPr>
        </p:nvSpPr>
        <p:spPr/>
        <p:txBody>
          <a:bodyPr/>
          <a:lstStyle/>
          <a:p>
            <a:endParaRPr lang="hu-HU"/>
          </a:p>
        </p:txBody>
      </p:sp>
      <p:sp>
        <p:nvSpPr>
          <p:cNvPr id="4" name="Content Placeholder 3">
            <a:extLst>
              <a:ext uri="{FF2B5EF4-FFF2-40B4-BE49-F238E27FC236}">
                <a16:creationId xmlns:a16="http://schemas.microsoft.com/office/drawing/2014/main" id="{F3CC4D12-D26A-7D1B-04BB-422D9483B7F0}"/>
              </a:ext>
            </a:extLst>
          </p:cNvPr>
          <p:cNvSpPr>
            <a:spLocks noGrp="1"/>
          </p:cNvSpPr>
          <p:nvPr>
            <p:ph sz="quarter" idx="16"/>
          </p:nvPr>
        </p:nvSpPr>
        <p:spPr>
          <a:xfrm>
            <a:off x="482600" y="1619013"/>
            <a:ext cx="11226800" cy="4756387"/>
          </a:xfrm>
        </p:spPr>
        <p:txBody>
          <a:bodyPr>
            <a:normAutofit/>
          </a:bodyPr>
          <a:lstStyle/>
          <a:p>
            <a:pPr marL="0" indent="0">
              <a:buNone/>
            </a:pPr>
            <a:r>
              <a:rPr lang="hu-HU" sz="3200" b="1" u="sng" dirty="0"/>
              <a:t>További megoldandók </a:t>
            </a:r>
          </a:p>
          <a:p>
            <a:endParaRPr lang="hu-HU" sz="2800" dirty="0"/>
          </a:p>
        </p:txBody>
      </p:sp>
      <p:sp>
        <p:nvSpPr>
          <p:cNvPr id="5" name="Text Placeholder 4">
            <a:extLst>
              <a:ext uri="{FF2B5EF4-FFF2-40B4-BE49-F238E27FC236}">
                <a16:creationId xmlns:a16="http://schemas.microsoft.com/office/drawing/2014/main" id="{44EA122D-609F-62AA-50BC-85BFD3222F42}"/>
              </a:ext>
            </a:extLst>
          </p:cNvPr>
          <p:cNvSpPr>
            <a:spLocks noGrp="1"/>
          </p:cNvSpPr>
          <p:nvPr>
            <p:ph type="body" sz="quarter" idx="14"/>
          </p:nvPr>
        </p:nvSpPr>
        <p:spPr/>
        <p:txBody>
          <a:bodyPr/>
          <a:lstStyle/>
          <a:p>
            <a:endParaRPr lang="hu-HU"/>
          </a:p>
        </p:txBody>
      </p:sp>
      <p:sp>
        <p:nvSpPr>
          <p:cNvPr id="6" name="Title 5">
            <a:extLst>
              <a:ext uri="{FF2B5EF4-FFF2-40B4-BE49-F238E27FC236}">
                <a16:creationId xmlns:a16="http://schemas.microsoft.com/office/drawing/2014/main" id="{AD0779B9-E3CF-E5C6-55E2-281207078576}"/>
              </a:ext>
            </a:extLst>
          </p:cNvPr>
          <p:cNvSpPr>
            <a:spLocks noGrp="1"/>
          </p:cNvSpPr>
          <p:nvPr>
            <p:ph type="title"/>
          </p:nvPr>
        </p:nvSpPr>
        <p:spPr/>
        <p:txBody>
          <a:bodyPr/>
          <a:lstStyle/>
          <a:p>
            <a:endParaRPr lang="hu-HU"/>
          </a:p>
        </p:txBody>
      </p:sp>
      <p:pic>
        <p:nvPicPr>
          <p:cNvPr id="7" name="Picture 6" descr="A picture containing electric blue, text, majorelle blue, blue">
            <a:extLst>
              <a:ext uri="{FF2B5EF4-FFF2-40B4-BE49-F238E27FC236}">
                <a16:creationId xmlns:a16="http://schemas.microsoft.com/office/drawing/2014/main" id="{9EE35D52-7446-48BA-2AC9-70773C45DFDD}"/>
              </a:ext>
            </a:extLst>
          </p:cNvPr>
          <p:cNvPicPr>
            <a:picLocks noChangeAspect="1"/>
          </p:cNvPicPr>
          <p:nvPr/>
        </p:nvPicPr>
        <p:blipFill>
          <a:blip r:embed="rId2"/>
          <a:stretch>
            <a:fillRect/>
          </a:stretch>
        </p:blipFill>
        <p:spPr>
          <a:xfrm>
            <a:off x="6299" y="1495"/>
            <a:ext cx="12185701" cy="1579418"/>
          </a:xfrm>
          <a:prstGeom prst="rect">
            <a:avLst/>
          </a:prstGeom>
        </p:spPr>
      </p:pic>
      <p:sp>
        <p:nvSpPr>
          <p:cNvPr id="13" name="TextBox 12">
            <a:extLst>
              <a:ext uri="{FF2B5EF4-FFF2-40B4-BE49-F238E27FC236}">
                <a16:creationId xmlns:a16="http://schemas.microsoft.com/office/drawing/2014/main" id="{22EECE66-0020-054B-1AAF-DA653C05FBB3}"/>
              </a:ext>
            </a:extLst>
          </p:cNvPr>
          <p:cNvSpPr txBox="1"/>
          <p:nvPr/>
        </p:nvSpPr>
        <p:spPr>
          <a:xfrm>
            <a:off x="1439403" y="2181467"/>
            <a:ext cx="5662766" cy="369332"/>
          </a:xfrm>
          <a:prstGeom prst="rect">
            <a:avLst/>
          </a:prstGeom>
          <a:solidFill>
            <a:schemeClr val="accent1"/>
          </a:solidFill>
        </p:spPr>
        <p:txBody>
          <a:bodyPr wrap="square" rtlCol="0">
            <a:spAutoFit/>
          </a:bodyPr>
          <a:lstStyle/>
          <a:p>
            <a:pPr algn="ctr"/>
            <a:r>
              <a:rPr lang="hu-HU" dirty="0">
                <a:solidFill>
                  <a:schemeClr val="bg1"/>
                </a:solidFill>
              </a:rPr>
              <a:t>Szabályozási feladatok - Frissítések</a:t>
            </a:r>
          </a:p>
        </p:txBody>
      </p:sp>
      <p:sp>
        <p:nvSpPr>
          <p:cNvPr id="14" name="Rectangle 13">
            <a:extLst>
              <a:ext uri="{FF2B5EF4-FFF2-40B4-BE49-F238E27FC236}">
                <a16:creationId xmlns:a16="http://schemas.microsoft.com/office/drawing/2014/main" id="{ABB47AD9-6CD6-8165-39FF-7FC59F98ACB3}"/>
              </a:ext>
            </a:extLst>
          </p:cNvPr>
          <p:cNvSpPr/>
          <p:nvPr/>
        </p:nvSpPr>
        <p:spPr>
          <a:xfrm>
            <a:off x="1419123" y="2679700"/>
            <a:ext cx="1828800" cy="182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err="1"/>
              <a:t>Kiberbiztonsági</a:t>
            </a:r>
            <a:r>
              <a:rPr lang="hu-HU" dirty="0"/>
              <a:t> kockázatfelmérés és értékelés </a:t>
            </a:r>
          </a:p>
          <a:p>
            <a:pPr algn="ctr"/>
            <a:r>
              <a:rPr lang="hu-HU" b="1" u="sng" dirty="0"/>
              <a:t>Frissítése</a:t>
            </a:r>
          </a:p>
          <a:p>
            <a:pPr algn="ctr"/>
            <a:endParaRPr lang="hu-HU" dirty="0"/>
          </a:p>
        </p:txBody>
      </p:sp>
      <p:sp>
        <p:nvSpPr>
          <p:cNvPr id="15" name="Rectangle 14">
            <a:extLst>
              <a:ext uri="{FF2B5EF4-FFF2-40B4-BE49-F238E27FC236}">
                <a16:creationId xmlns:a16="http://schemas.microsoft.com/office/drawing/2014/main" id="{7F3AA6EA-BDB4-3369-CB42-E02D4B3D4BC3}"/>
              </a:ext>
            </a:extLst>
          </p:cNvPr>
          <p:cNvSpPr/>
          <p:nvPr/>
        </p:nvSpPr>
        <p:spPr>
          <a:xfrm>
            <a:off x="3346246" y="2679700"/>
            <a:ext cx="1828800" cy="182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t>Üzletmenet folytonossági (BCP) és </a:t>
            </a:r>
            <a:r>
              <a:rPr lang="hu-HU" dirty="0" err="1"/>
              <a:t>katasztrófal</a:t>
            </a:r>
            <a:r>
              <a:rPr lang="hu-HU" dirty="0"/>
              <a:t> hárítási (DRP) tervek  </a:t>
            </a:r>
            <a:r>
              <a:rPr lang="hu-HU" b="1" u="sng" dirty="0"/>
              <a:t>Frissítése</a:t>
            </a:r>
            <a:endParaRPr lang="hu-HU" dirty="0"/>
          </a:p>
        </p:txBody>
      </p:sp>
      <p:sp>
        <p:nvSpPr>
          <p:cNvPr id="16" name="Rectangle 15">
            <a:extLst>
              <a:ext uri="{FF2B5EF4-FFF2-40B4-BE49-F238E27FC236}">
                <a16:creationId xmlns:a16="http://schemas.microsoft.com/office/drawing/2014/main" id="{0B7074E0-8851-D2A5-6519-C5EBF6A0C5EA}"/>
              </a:ext>
            </a:extLst>
          </p:cNvPr>
          <p:cNvSpPr/>
          <p:nvPr/>
        </p:nvSpPr>
        <p:spPr>
          <a:xfrm>
            <a:off x="5273369" y="2679700"/>
            <a:ext cx="1828800" cy="182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t>Rendszeres DRP tesztelés</a:t>
            </a:r>
          </a:p>
        </p:txBody>
      </p:sp>
      <p:sp>
        <p:nvSpPr>
          <p:cNvPr id="17" name="Rectangle 16">
            <a:extLst>
              <a:ext uri="{FF2B5EF4-FFF2-40B4-BE49-F238E27FC236}">
                <a16:creationId xmlns:a16="http://schemas.microsoft.com/office/drawing/2014/main" id="{B7191248-0543-3572-2633-4F69A9AD00AE}"/>
              </a:ext>
            </a:extLst>
          </p:cNvPr>
          <p:cNvSpPr/>
          <p:nvPr/>
        </p:nvSpPr>
        <p:spPr>
          <a:xfrm>
            <a:off x="1409700" y="4660900"/>
            <a:ext cx="1828800" cy="182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t>Szabályozott szerepkörök kialakítása a rendszerekhez</a:t>
            </a:r>
          </a:p>
        </p:txBody>
      </p:sp>
      <p:sp>
        <p:nvSpPr>
          <p:cNvPr id="18" name="Rectangle 17">
            <a:extLst>
              <a:ext uri="{FF2B5EF4-FFF2-40B4-BE49-F238E27FC236}">
                <a16:creationId xmlns:a16="http://schemas.microsoft.com/office/drawing/2014/main" id="{55246168-01A3-74BA-8741-3D0DB2047D17}"/>
              </a:ext>
            </a:extLst>
          </p:cNvPr>
          <p:cNvSpPr/>
          <p:nvPr/>
        </p:nvSpPr>
        <p:spPr>
          <a:xfrm>
            <a:off x="3336823" y="4660900"/>
            <a:ext cx="1828800" cy="182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800" dirty="0">
                <a:effectLst/>
              </a:rPr>
              <a:t>Konfiguráció kezelési és változtatási folyamatok alkalmazása </a:t>
            </a:r>
          </a:p>
        </p:txBody>
      </p:sp>
      <p:sp>
        <p:nvSpPr>
          <p:cNvPr id="19" name="Rectangle 18">
            <a:extLst>
              <a:ext uri="{FF2B5EF4-FFF2-40B4-BE49-F238E27FC236}">
                <a16:creationId xmlns:a16="http://schemas.microsoft.com/office/drawing/2014/main" id="{E008BB93-9D60-41ED-4407-AD1CB4213049}"/>
              </a:ext>
            </a:extLst>
          </p:cNvPr>
          <p:cNvSpPr/>
          <p:nvPr/>
        </p:nvSpPr>
        <p:spPr>
          <a:xfrm>
            <a:off x="5263946" y="4660900"/>
            <a:ext cx="1828800" cy="182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800" dirty="0">
                <a:effectLst/>
              </a:rPr>
              <a:t>A működési határértékek legyenek ismertek és dokumentáltak</a:t>
            </a:r>
            <a:endParaRPr lang="hu-HU" dirty="0"/>
          </a:p>
        </p:txBody>
      </p:sp>
      <p:sp>
        <p:nvSpPr>
          <p:cNvPr id="27" name="Rectangle 26">
            <a:extLst>
              <a:ext uri="{FF2B5EF4-FFF2-40B4-BE49-F238E27FC236}">
                <a16:creationId xmlns:a16="http://schemas.microsoft.com/office/drawing/2014/main" id="{D0EDDE11-A660-5888-3D6A-D61D4FE22350}"/>
              </a:ext>
            </a:extLst>
          </p:cNvPr>
          <p:cNvSpPr/>
          <p:nvPr/>
        </p:nvSpPr>
        <p:spPr>
          <a:xfrm>
            <a:off x="7200492" y="2709854"/>
            <a:ext cx="2227211" cy="182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t>Védett módú, felügyelt és naplózott eszközhozzáférés</a:t>
            </a:r>
          </a:p>
        </p:txBody>
      </p:sp>
      <p:sp>
        <p:nvSpPr>
          <p:cNvPr id="28" name="TextBox 27">
            <a:extLst>
              <a:ext uri="{FF2B5EF4-FFF2-40B4-BE49-F238E27FC236}">
                <a16:creationId xmlns:a16="http://schemas.microsoft.com/office/drawing/2014/main" id="{7FE13FEE-581D-3359-3F8E-864C56CB953F}"/>
              </a:ext>
            </a:extLst>
          </p:cNvPr>
          <p:cNvSpPr txBox="1"/>
          <p:nvPr/>
        </p:nvSpPr>
        <p:spPr>
          <a:xfrm>
            <a:off x="7220055" y="2181467"/>
            <a:ext cx="2207648" cy="369332"/>
          </a:xfrm>
          <a:prstGeom prst="rect">
            <a:avLst/>
          </a:prstGeom>
          <a:solidFill>
            <a:schemeClr val="accent1"/>
          </a:solidFill>
        </p:spPr>
        <p:txBody>
          <a:bodyPr wrap="square" rtlCol="0">
            <a:spAutoFit/>
          </a:bodyPr>
          <a:lstStyle>
            <a:defPPr>
              <a:defRPr lang="de-DE"/>
            </a:defPPr>
            <a:lvl1pPr algn="ctr">
              <a:defRPr>
                <a:solidFill>
                  <a:schemeClr val="bg1"/>
                </a:solidFill>
              </a:defRPr>
            </a:lvl1pPr>
          </a:lstStyle>
          <a:p>
            <a:r>
              <a:rPr lang="hu-HU"/>
              <a:t>Hozzáférés vezérlés</a:t>
            </a:r>
            <a:endParaRPr lang="hu-HU" dirty="0"/>
          </a:p>
        </p:txBody>
      </p:sp>
      <p:sp>
        <p:nvSpPr>
          <p:cNvPr id="29" name="TextBox 28">
            <a:extLst>
              <a:ext uri="{FF2B5EF4-FFF2-40B4-BE49-F238E27FC236}">
                <a16:creationId xmlns:a16="http://schemas.microsoft.com/office/drawing/2014/main" id="{1C0428AC-E3B5-E7E8-B26B-8F4527961A1D}"/>
              </a:ext>
            </a:extLst>
          </p:cNvPr>
          <p:cNvSpPr txBox="1"/>
          <p:nvPr/>
        </p:nvSpPr>
        <p:spPr>
          <a:xfrm>
            <a:off x="9548763" y="2181467"/>
            <a:ext cx="1828800" cy="369332"/>
          </a:xfrm>
          <a:prstGeom prst="rect">
            <a:avLst/>
          </a:prstGeom>
          <a:solidFill>
            <a:schemeClr val="accent1"/>
          </a:solidFill>
        </p:spPr>
        <p:txBody>
          <a:bodyPr wrap="square" rtlCol="0">
            <a:spAutoFit/>
          </a:bodyPr>
          <a:lstStyle/>
          <a:p>
            <a:pPr algn="ctr"/>
            <a:r>
              <a:rPr lang="hu-HU" dirty="0">
                <a:solidFill>
                  <a:schemeClr val="bg1"/>
                </a:solidFill>
              </a:rPr>
              <a:t>Adatbiztonság</a:t>
            </a:r>
          </a:p>
        </p:txBody>
      </p:sp>
      <p:sp>
        <p:nvSpPr>
          <p:cNvPr id="30" name="Rectangle 29">
            <a:extLst>
              <a:ext uri="{FF2B5EF4-FFF2-40B4-BE49-F238E27FC236}">
                <a16:creationId xmlns:a16="http://schemas.microsoft.com/office/drawing/2014/main" id="{57BA88DE-AF69-B075-700D-6D3430676E9E}"/>
              </a:ext>
            </a:extLst>
          </p:cNvPr>
          <p:cNvSpPr/>
          <p:nvPr/>
        </p:nvSpPr>
        <p:spPr>
          <a:xfrm>
            <a:off x="9548762" y="2709854"/>
            <a:ext cx="1828800" cy="1828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t>Eszközök mentett </a:t>
            </a:r>
            <a:r>
              <a:rPr lang="hu-HU" dirty="0" err="1"/>
              <a:t>szoftvereinek</a:t>
            </a:r>
            <a:r>
              <a:rPr lang="hu-HU" dirty="0"/>
              <a:t> és konfigurációinak titkosított tárolása</a:t>
            </a:r>
          </a:p>
        </p:txBody>
      </p:sp>
      <p:pic>
        <p:nvPicPr>
          <p:cNvPr id="8" name="Picture 7" descr="A képen szöveg, clipart látható&#10;&#10;Automatikusan generált leírás">
            <a:extLst>
              <a:ext uri="{FF2B5EF4-FFF2-40B4-BE49-F238E27FC236}">
                <a16:creationId xmlns:a16="http://schemas.microsoft.com/office/drawing/2014/main" id="{BDE56309-19B0-C129-54D9-F75D1880E23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515600" y="1828800"/>
            <a:ext cx="1499235" cy="279400"/>
          </a:xfrm>
          <a:prstGeom prst="rect">
            <a:avLst/>
          </a:prstGeom>
          <a:noFill/>
        </p:spPr>
      </p:pic>
    </p:spTree>
    <p:extLst>
      <p:ext uri="{BB962C8B-B14F-4D97-AF65-F5344CB8AC3E}">
        <p14:creationId xmlns:p14="http://schemas.microsoft.com/office/powerpoint/2010/main" val="1352871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animBg="1"/>
      <p:bldP spid="19" grpId="0" animBg="1"/>
      <p:bldP spid="27" grpId="0" animBg="1"/>
      <p:bldP spid="28" grpId="0" animBg="1"/>
      <p:bldP spid="29" grpId="0" animBg="1"/>
      <p:bldP spid="3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677D91F1-8EEC-4EF5-90DD-0C6770704AFC}"/>
              </a:ext>
            </a:extLst>
          </p:cNvPr>
          <p:cNvSpPr>
            <a:spLocks noGrp="1"/>
          </p:cNvSpPr>
          <p:nvPr>
            <p:ph type="sldNum" sz="quarter" idx="12"/>
          </p:nvPr>
        </p:nvSpPr>
        <p:spPr>
          <a:xfrm>
            <a:off x="10820400" y="6194142"/>
            <a:ext cx="889000" cy="254000"/>
          </a:xfrm>
        </p:spPr>
        <p:txBody>
          <a:bodyPr/>
          <a:lstStyle/>
          <a:p>
            <a:fld id="{3C6863D3-0438-440B-9B18-903EFF5BE46F}" type="slidenum">
              <a:rPr lang="en-US" smtClean="0"/>
              <a:pPr/>
              <a:t>2</a:t>
            </a:fld>
            <a:endParaRPr lang="en-US" dirty="0"/>
          </a:p>
        </p:txBody>
      </p:sp>
      <p:sp>
        <p:nvSpPr>
          <p:cNvPr id="13" name="Inhaltsplatzhalter 12">
            <a:extLst>
              <a:ext uri="{FF2B5EF4-FFF2-40B4-BE49-F238E27FC236}">
                <a16:creationId xmlns:a16="http://schemas.microsoft.com/office/drawing/2014/main" id="{8E21AA51-49EB-49B7-8323-9CAE3473C221}"/>
              </a:ext>
            </a:extLst>
          </p:cNvPr>
          <p:cNvSpPr>
            <a:spLocks noGrp="1"/>
          </p:cNvSpPr>
          <p:nvPr>
            <p:ph sz="quarter" idx="18"/>
          </p:nvPr>
        </p:nvSpPr>
        <p:spPr>
          <a:xfrm>
            <a:off x="482600" y="2076007"/>
            <a:ext cx="11226800" cy="2457893"/>
          </a:xfrm>
        </p:spPr>
        <p:txBody>
          <a:bodyPr>
            <a:normAutofit fontScale="92500" lnSpcReduction="10000"/>
          </a:bodyPr>
          <a:lstStyle/>
          <a:p>
            <a:r>
              <a:rPr lang="hu-HU" sz="2400" dirty="0"/>
              <a:t>Internet of </a:t>
            </a:r>
            <a:r>
              <a:rPr lang="hu-HU" sz="2400" dirty="0" err="1"/>
              <a:t>Things</a:t>
            </a:r>
            <a:endParaRPr lang="hu-HU" sz="2400" dirty="0"/>
          </a:p>
          <a:p>
            <a:pPr lvl="1"/>
            <a:r>
              <a:rPr lang="hu-HU" dirty="0"/>
              <a:t>Minden olyan eszköz ami beépített szoftverrel, (szenzorral) rendelkezik és adatokat cserél más eszközökkel az Interneten keresztül</a:t>
            </a:r>
          </a:p>
          <a:p>
            <a:r>
              <a:rPr lang="hu-HU" sz="2400" b="1" u="sng" dirty="0" err="1"/>
              <a:t>i</a:t>
            </a:r>
            <a:r>
              <a:rPr lang="hu-HU" sz="2400" dirty="0" err="1"/>
              <a:t>ndustrial</a:t>
            </a:r>
            <a:r>
              <a:rPr lang="hu-HU" sz="2400" dirty="0"/>
              <a:t> </a:t>
            </a:r>
            <a:r>
              <a:rPr lang="hu-HU" sz="2400" b="1" u="sng" dirty="0"/>
              <a:t>I</a:t>
            </a:r>
            <a:r>
              <a:rPr lang="hu-HU" sz="2400" dirty="0"/>
              <a:t>nternet </a:t>
            </a:r>
            <a:r>
              <a:rPr lang="hu-HU" sz="2400" b="1" u="sng" dirty="0"/>
              <a:t>o</a:t>
            </a:r>
            <a:r>
              <a:rPr lang="hu-HU" sz="2400" dirty="0"/>
              <a:t>f </a:t>
            </a:r>
            <a:r>
              <a:rPr lang="hu-HU" sz="2400" b="1" u="sng" dirty="0" err="1"/>
              <a:t>T</a:t>
            </a:r>
            <a:r>
              <a:rPr lang="hu-HU" sz="2400" dirty="0" err="1"/>
              <a:t>hings</a:t>
            </a:r>
            <a:endParaRPr lang="hu-HU" sz="2400" dirty="0"/>
          </a:p>
          <a:p>
            <a:pPr lvl="1"/>
            <a:r>
              <a:rPr lang="hu-HU" dirty="0" err="1"/>
              <a:t>IoT</a:t>
            </a:r>
            <a:r>
              <a:rPr lang="hu-HU" dirty="0"/>
              <a:t> ipari környezetben</a:t>
            </a:r>
          </a:p>
          <a:p>
            <a:r>
              <a:rPr lang="hu-HU" sz="2400" b="1" u="sng" dirty="0" err="1"/>
              <a:t>I</a:t>
            </a:r>
            <a:r>
              <a:rPr lang="hu-HU" sz="2400" dirty="0" err="1"/>
              <a:t>ndustrial</a:t>
            </a:r>
            <a:r>
              <a:rPr lang="hu-HU" sz="2400" dirty="0"/>
              <a:t> </a:t>
            </a:r>
            <a:r>
              <a:rPr lang="hu-HU" sz="2400" b="1" u="sng" dirty="0"/>
              <a:t>C</a:t>
            </a:r>
            <a:r>
              <a:rPr lang="hu-HU" sz="2400" dirty="0"/>
              <a:t>ontrol </a:t>
            </a:r>
            <a:r>
              <a:rPr lang="hu-HU" sz="2400" b="1" u="sng" dirty="0" err="1"/>
              <a:t>S</a:t>
            </a:r>
            <a:r>
              <a:rPr lang="hu-HU" sz="2400" dirty="0" err="1"/>
              <a:t>ubsystem</a:t>
            </a:r>
            <a:r>
              <a:rPr lang="hu-HU" sz="2400" dirty="0"/>
              <a:t> </a:t>
            </a:r>
            <a:r>
              <a:rPr lang="hu-HU" sz="2400" b="1" u="sng" dirty="0"/>
              <a:t>O</a:t>
            </a:r>
            <a:r>
              <a:rPr lang="hu-HU" sz="2400" dirty="0"/>
              <a:t>perational </a:t>
            </a:r>
            <a:r>
              <a:rPr lang="hu-HU" sz="2400" b="1" u="sng" dirty="0" err="1"/>
              <a:t>T</a:t>
            </a:r>
            <a:r>
              <a:rPr lang="hu-HU" sz="2400" dirty="0" err="1"/>
              <a:t>echnology</a:t>
            </a:r>
            <a:r>
              <a:rPr lang="hu-HU" sz="2400" dirty="0"/>
              <a:t> </a:t>
            </a:r>
          </a:p>
          <a:p>
            <a:r>
              <a:rPr lang="hu-HU" dirty="0"/>
              <a:t>Az ipari vagy gyártási folyamatok vezérlésére használt elektronikus, vagy digitális rendszerek</a:t>
            </a:r>
          </a:p>
          <a:p>
            <a:pPr lvl="2"/>
            <a:r>
              <a:rPr lang="hu-HU" dirty="0"/>
              <a:t>PLC-k, SCADA rendszerek, gyártói felügyeleti rendszerek, stb.</a:t>
            </a:r>
          </a:p>
          <a:p>
            <a:endParaRPr lang="de-AT" dirty="0"/>
          </a:p>
        </p:txBody>
      </p:sp>
      <p:sp>
        <p:nvSpPr>
          <p:cNvPr id="9" name="Titel 8">
            <a:extLst>
              <a:ext uri="{FF2B5EF4-FFF2-40B4-BE49-F238E27FC236}">
                <a16:creationId xmlns:a16="http://schemas.microsoft.com/office/drawing/2014/main" id="{F6B4FEA6-3C17-4511-BB8F-8EE6DD883ECA}"/>
              </a:ext>
            </a:extLst>
          </p:cNvPr>
          <p:cNvSpPr>
            <a:spLocks noGrp="1"/>
          </p:cNvSpPr>
          <p:nvPr>
            <p:ph type="title"/>
          </p:nvPr>
        </p:nvSpPr>
        <p:spPr>
          <a:xfrm>
            <a:off x="482600" y="1630226"/>
            <a:ext cx="9359900" cy="355600"/>
          </a:xfrm>
        </p:spPr>
        <p:txBody>
          <a:bodyPr/>
          <a:lstStyle/>
          <a:p>
            <a:r>
              <a:rPr lang="hu-HU" dirty="0" err="1"/>
              <a:t>IoT</a:t>
            </a:r>
            <a:r>
              <a:rPr lang="hu-HU" dirty="0"/>
              <a:t>/i-</a:t>
            </a:r>
            <a:r>
              <a:rPr lang="hu-HU" dirty="0" err="1"/>
              <a:t>IoT</a:t>
            </a:r>
            <a:r>
              <a:rPr lang="hu-HU" dirty="0"/>
              <a:t>/ ICS/OT Security</a:t>
            </a:r>
            <a:endParaRPr lang="de-AT" dirty="0"/>
          </a:p>
        </p:txBody>
      </p:sp>
      <p:sp>
        <p:nvSpPr>
          <p:cNvPr id="4" name="Rectangle 3">
            <a:extLst>
              <a:ext uri="{FF2B5EF4-FFF2-40B4-BE49-F238E27FC236}">
                <a16:creationId xmlns:a16="http://schemas.microsoft.com/office/drawing/2014/main" id="{8C03BA85-91C3-757D-4247-30363F33424F}"/>
              </a:ext>
            </a:extLst>
          </p:cNvPr>
          <p:cNvSpPr/>
          <p:nvPr/>
        </p:nvSpPr>
        <p:spPr>
          <a:xfrm>
            <a:off x="241300" y="4393816"/>
            <a:ext cx="2871015" cy="637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4000" dirty="0">
                <a:solidFill>
                  <a:schemeClr val="tx1"/>
                </a:solidFill>
                <a:ea typeface="Verdana" pitchFamily="34" charset="0"/>
                <a:cs typeface="Arial" pitchFamily="34" charset="0"/>
              </a:rPr>
              <a:t>Cél</a:t>
            </a:r>
          </a:p>
        </p:txBody>
      </p:sp>
      <p:sp>
        <p:nvSpPr>
          <p:cNvPr id="5" name="Rectangle 4">
            <a:extLst>
              <a:ext uri="{FF2B5EF4-FFF2-40B4-BE49-F238E27FC236}">
                <a16:creationId xmlns:a16="http://schemas.microsoft.com/office/drawing/2014/main" id="{E0AB23A4-EC84-807B-CA87-A0626706937E}"/>
              </a:ext>
            </a:extLst>
          </p:cNvPr>
          <p:cNvSpPr/>
          <p:nvPr/>
        </p:nvSpPr>
        <p:spPr>
          <a:xfrm>
            <a:off x="4035919" y="4393815"/>
            <a:ext cx="2871014" cy="637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4000" dirty="0">
                <a:solidFill>
                  <a:schemeClr val="tx1"/>
                </a:solidFill>
                <a:ea typeface="Verdana" pitchFamily="34" charset="0"/>
                <a:cs typeface="Arial" pitchFamily="34" charset="0"/>
              </a:rPr>
              <a:t>Megoldás</a:t>
            </a:r>
          </a:p>
        </p:txBody>
      </p:sp>
      <p:sp>
        <p:nvSpPr>
          <p:cNvPr id="7" name="Rectangle 6">
            <a:extLst>
              <a:ext uri="{FF2B5EF4-FFF2-40B4-BE49-F238E27FC236}">
                <a16:creationId xmlns:a16="http://schemas.microsoft.com/office/drawing/2014/main" id="{C172B489-FF26-AF49-0487-8069897F3B42}"/>
              </a:ext>
            </a:extLst>
          </p:cNvPr>
          <p:cNvSpPr/>
          <p:nvPr/>
        </p:nvSpPr>
        <p:spPr>
          <a:xfrm>
            <a:off x="7406722" y="4393814"/>
            <a:ext cx="3045961" cy="6375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4000" dirty="0">
                <a:solidFill>
                  <a:schemeClr val="tx1"/>
                </a:solidFill>
                <a:ea typeface="Verdana" pitchFamily="34" charset="0"/>
                <a:cs typeface="Arial" pitchFamily="34" charset="0"/>
              </a:rPr>
              <a:t>„Eredmény”</a:t>
            </a:r>
          </a:p>
        </p:txBody>
      </p:sp>
      <p:sp>
        <p:nvSpPr>
          <p:cNvPr id="15" name="Arrow: Pentagon 14">
            <a:extLst>
              <a:ext uri="{FF2B5EF4-FFF2-40B4-BE49-F238E27FC236}">
                <a16:creationId xmlns:a16="http://schemas.microsoft.com/office/drawing/2014/main" id="{E0B7F438-A2E0-314E-E93E-8DB1BA8EB671}"/>
              </a:ext>
            </a:extLst>
          </p:cNvPr>
          <p:cNvSpPr/>
          <p:nvPr/>
        </p:nvSpPr>
        <p:spPr>
          <a:xfrm>
            <a:off x="241301" y="5121560"/>
            <a:ext cx="3667969" cy="161907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hu-HU" sz="2400" dirty="0"/>
              <a:t>Automatizálás</a:t>
            </a:r>
          </a:p>
          <a:p>
            <a:r>
              <a:rPr lang="hu-HU" sz="2400" dirty="0"/>
              <a:t>„Távoli” felügyelet</a:t>
            </a:r>
          </a:p>
          <a:p>
            <a:r>
              <a:rPr lang="hu-HU" sz="2400" dirty="0"/>
              <a:t>Szabályozás, beavatkozás</a:t>
            </a:r>
          </a:p>
          <a:p>
            <a:r>
              <a:rPr lang="hu-HU" sz="2400" dirty="0"/>
              <a:t>Adatgyűjtés</a:t>
            </a:r>
          </a:p>
        </p:txBody>
      </p:sp>
      <p:sp>
        <p:nvSpPr>
          <p:cNvPr id="16" name="Arrow: Chevron 15">
            <a:extLst>
              <a:ext uri="{FF2B5EF4-FFF2-40B4-BE49-F238E27FC236}">
                <a16:creationId xmlns:a16="http://schemas.microsoft.com/office/drawing/2014/main" id="{C6352F3B-F488-3241-668D-625E4FACAC40}"/>
              </a:ext>
            </a:extLst>
          </p:cNvPr>
          <p:cNvSpPr/>
          <p:nvPr/>
        </p:nvSpPr>
        <p:spPr>
          <a:xfrm>
            <a:off x="3999450" y="5121559"/>
            <a:ext cx="3401737" cy="161907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2400" dirty="0"/>
              <a:t>OT/ICS és  IT rendszerek összekötése</a:t>
            </a:r>
          </a:p>
        </p:txBody>
      </p:sp>
      <p:sp>
        <p:nvSpPr>
          <p:cNvPr id="17" name="Arrow: Chevron 16">
            <a:extLst>
              <a:ext uri="{FF2B5EF4-FFF2-40B4-BE49-F238E27FC236}">
                <a16:creationId xmlns:a16="http://schemas.microsoft.com/office/drawing/2014/main" id="{209CE4D1-B880-90CA-C559-1D83C6FBAEE3}"/>
              </a:ext>
            </a:extLst>
          </p:cNvPr>
          <p:cNvSpPr/>
          <p:nvPr/>
        </p:nvSpPr>
        <p:spPr>
          <a:xfrm>
            <a:off x="7406722" y="5121558"/>
            <a:ext cx="3877694" cy="161907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hu-HU" sz="2800" dirty="0"/>
              <a:t>Egy új </a:t>
            </a:r>
            <a:r>
              <a:rPr lang="hu-HU" sz="2400" dirty="0"/>
              <a:t>támadási felület az ipari rendszerek fele</a:t>
            </a:r>
          </a:p>
        </p:txBody>
      </p:sp>
      <p:pic>
        <p:nvPicPr>
          <p:cNvPr id="6" name="Picture 5" descr="A picture containing electric blue, text, majorelle blue, blue">
            <a:extLst>
              <a:ext uri="{FF2B5EF4-FFF2-40B4-BE49-F238E27FC236}">
                <a16:creationId xmlns:a16="http://schemas.microsoft.com/office/drawing/2014/main" id="{1B4FAA1C-C066-0237-5047-2CE8B35745D4}"/>
              </a:ext>
            </a:extLst>
          </p:cNvPr>
          <p:cNvPicPr>
            <a:picLocks noChangeAspect="1"/>
          </p:cNvPicPr>
          <p:nvPr/>
        </p:nvPicPr>
        <p:blipFill>
          <a:blip r:embed="rId2"/>
          <a:stretch>
            <a:fillRect/>
          </a:stretch>
        </p:blipFill>
        <p:spPr>
          <a:xfrm>
            <a:off x="6299" y="1"/>
            <a:ext cx="12185701" cy="1579418"/>
          </a:xfrm>
          <a:prstGeom prst="rect">
            <a:avLst/>
          </a:prstGeom>
        </p:spPr>
      </p:pic>
      <p:pic>
        <p:nvPicPr>
          <p:cNvPr id="3" name="Picture 2" descr="A képen szöveg, clipart látható&#10;&#10;Automatikusan generált leírás">
            <a:extLst>
              <a:ext uri="{FF2B5EF4-FFF2-40B4-BE49-F238E27FC236}">
                <a16:creationId xmlns:a16="http://schemas.microsoft.com/office/drawing/2014/main" id="{62AA05BD-E929-F8DB-0EA0-B2F4939693C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515600" y="1828800"/>
            <a:ext cx="1499235" cy="279400"/>
          </a:xfrm>
          <a:prstGeom prst="rect">
            <a:avLst/>
          </a:prstGeom>
          <a:noFill/>
        </p:spPr>
      </p:pic>
    </p:spTree>
    <p:extLst>
      <p:ext uri="{BB962C8B-B14F-4D97-AF65-F5344CB8AC3E}">
        <p14:creationId xmlns:p14="http://schemas.microsoft.com/office/powerpoint/2010/main" val="309607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7" grpId="0"/>
      <p:bldP spid="15" grpId="0" animBg="1"/>
      <p:bldP spid="16" grpId="0" animBg="1"/>
      <p:bldP spid="1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AD10AC60-B48E-40E5-BB7E-F41BDD688C4F}"/>
              </a:ext>
            </a:extLst>
          </p:cNvPr>
          <p:cNvSpPr>
            <a:spLocks noGrp="1"/>
          </p:cNvSpPr>
          <p:nvPr>
            <p:ph type="sldNum" sz="quarter" idx="12"/>
          </p:nvPr>
        </p:nvSpPr>
        <p:spPr/>
        <p:txBody>
          <a:bodyPr/>
          <a:lstStyle/>
          <a:p>
            <a:fld id="{3C6863D3-0438-440B-9B18-903EFF5BE46F}" type="slidenum">
              <a:rPr lang="en-US" smtClean="0"/>
              <a:pPr/>
              <a:t>20</a:t>
            </a:fld>
            <a:endParaRPr lang="en-US" dirty="0"/>
          </a:p>
        </p:txBody>
      </p:sp>
      <p:sp>
        <p:nvSpPr>
          <p:cNvPr id="10" name="Textplatzhalter 9">
            <a:extLst>
              <a:ext uri="{FF2B5EF4-FFF2-40B4-BE49-F238E27FC236}">
                <a16:creationId xmlns:a16="http://schemas.microsoft.com/office/drawing/2014/main" id="{695718F0-15C7-4FB9-89A4-707B22AE4F4C}"/>
              </a:ext>
            </a:extLst>
          </p:cNvPr>
          <p:cNvSpPr>
            <a:spLocks noGrp="1"/>
          </p:cNvSpPr>
          <p:nvPr>
            <p:ph type="body" sz="quarter" idx="15"/>
          </p:nvPr>
        </p:nvSpPr>
        <p:spPr/>
        <p:txBody>
          <a:bodyPr/>
          <a:lstStyle/>
          <a:p>
            <a:endParaRPr lang="de-AT"/>
          </a:p>
        </p:txBody>
      </p:sp>
      <p:sp>
        <p:nvSpPr>
          <p:cNvPr id="9" name="Textplatzhalter 8">
            <a:extLst>
              <a:ext uri="{FF2B5EF4-FFF2-40B4-BE49-F238E27FC236}">
                <a16:creationId xmlns:a16="http://schemas.microsoft.com/office/drawing/2014/main" id="{6AD1D37B-9C9C-4236-9BEE-59E5A54C8483}"/>
              </a:ext>
            </a:extLst>
          </p:cNvPr>
          <p:cNvSpPr>
            <a:spLocks noGrp="1"/>
          </p:cNvSpPr>
          <p:nvPr>
            <p:ph type="body" sz="quarter" idx="14"/>
          </p:nvPr>
        </p:nvSpPr>
        <p:spPr/>
        <p:txBody>
          <a:bodyPr/>
          <a:lstStyle/>
          <a:p>
            <a:endParaRPr lang="de-AT" dirty="0"/>
          </a:p>
        </p:txBody>
      </p:sp>
      <p:sp>
        <p:nvSpPr>
          <p:cNvPr id="8" name="Titel 7">
            <a:extLst>
              <a:ext uri="{FF2B5EF4-FFF2-40B4-BE49-F238E27FC236}">
                <a16:creationId xmlns:a16="http://schemas.microsoft.com/office/drawing/2014/main" id="{43EF69FD-A3BE-4A5D-BCBA-40A275F1F289}"/>
              </a:ext>
            </a:extLst>
          </p:cNvPr>
          <p:cNvSpPr>
            <a:spLocks noGrp="1"/>
          </p:cNvSpPr>
          <p:nvPr>
            <p:ph type="title"/>
          </p:nvPr>
        </p:nvSpPr>
        <p:spPr/>
        <p:txBody>
          <a:bodyPr/>
          <a:lstStyle/>
          <a:p>
            <a:r>
              <a:rPr lang="hu-HU" dirty="0"/>
              <a:t>Összefoglalva</a:t>
            </a:r>
            <a:endParaRPr lang="de-AT" dirty="0"/>
          </a:p>
        </p:txBody>
      </p:sp>
      <p:sp>
        <p:nvSpPr>
          <p:cNvPr id="3" name="TextBox 2">
            <a:extLst>
              <a:ext uri="{FF2B5EF4-FFF2-40B4-BE49-F238E27FC236}">
                <a16:creationId xmlns:a16="http://schemas.microsoft.com/office/drawing/2014/main" id="{7F90428B-993E-B050-A087-4BDC9CCD9A19}"/>
              </a:ext>
            </a:extLst>
          </p:cNvPr>
          <p:cNvSpPr txBox="1"/>
          <p:nvPr/>
        </p:nvSpPr>
        <p:spPr>
          <a:xfrm>
            <a:off x="482600" y="1695207"/>
            <a:ext cx="11490325" cy="4989892"/>
          </a:xfrm>
          <a:prstGeom prst="rect">
            <a:avLst/>
          </a:prstGeom>
          <a:noFill/>
        </p:spPr>
        <p:txBody>
          <a:bodyPr wrap="square" rtlCol="0">
            <a:spAutoFit/>
          </a:bodyPr>
          <a:lstStyle/>
          <a:p>
            <a:r>
              <a:rPr lang="hu-HU" sz="3200" b="1" u="sng" dirty="0"/>
              <a:t>OT security témáról részletesebben:  </a:t>
            </a:r>
          </a:p>
          <a:p>
            <a:endParaRPr lang="hu-HU" dirty="0"/>
          </a:p>
          <a:p>
            <a:pPr marL="285750" indent="-285750">
              <a:buFontTx/>
              <a:buChar char="-"/>
            </a:pPr>
            <a:r>
              <a:rPr lang="hu-HU" dirty="0"/>
              <a:t>Dr. </a:t>
            </a:r>
            <a:r>
              <a:rPr lang="hu-HU" dirty="0" err="1"/>
              <a:t>Krasznay</a:t>
            </a:r>
            <a:r>
              <a:rPr lang="hu-HU" dirty="0"/>
              <a:t> Csaba: </a:t>
            </a:r>
          </a:p>
          <a:p>
            <a:pPr marL="742950" lvl="1" indent="-285750">
              <a:buFontTx/>
              <a:buChar char="-"/>
            </a:pPr>
            <a:r>
              <a:rPr lang="hu-HU" dirty="0"/>
              <a:t>KIBERBIZTONSÁG A XXI. SZÁZADBAN</a:t>
            </a:r>
          </a:p>
          <a:p>
            <a:pPr marL="742950" lvl="1" indent="-285750">
              <a:buFontTx/>
              <a:buChar char="-"/>
            </a:pPr>
            <a:endParaRPr lang="hu-HU" dirty="0"/>
          </a:p>
          <a:p>
            <a:pPr marL="285750" indent="-285750">
              <a:buFontTx/>
              <a:buChar char="-"/>
            </a:pPr>
            <a:r>
              <a:rPr lang="hu-HU" dirty="0"/>
              <a:t>Nemzeti </a:t>
            </a:r>
            <a:r>
              <a:rPr lang="hu-HU" dirty="0" err="1"/>
              <a:t>Kibervédelmi</a:t>
            </a:r>
            <a:r>
              <a:rPr lang="hu-HU" dirty="0"/>
              <a:t> Intézet:</a:t>
            </a:r>
          </a:p>
          <a:p>
            <a:pPr marL="742950" lvl="1" indent="-285750">
              <a:buFontTx/>
              <a:buChar char="-"/>
            </a:pPr>
            <a:r>
              <a:rPr lang="hu-HU" dirty="0"/>
              <a:t> Villamosenergetikai ipari felügyeleti rendszerek </a:t>
            </a:r>
            <a:r>
              <a:rPr lang="hu-HU" dirty="0" err="1"/>
              <a:t>kiberbiztonsági</a:t>
            </a:r>
            <a:r>
              <a:rPr lang="hu-HU" dirty="0"/>
              <a:t> kézikönyve </a:t>
            </a:r>
          </a:p>
          <a:p>
            <a:pPr marL="285750" indent="-285750">
              <a:buFontTx/>
              <a:buChar char="-"/>
            </a:pPr>
            <a:endParaRPr lang="hu-HU" dirty="0"/>
          </a:p>
          <a:p>
            <a:pPr marL="285750" indent="-285750">
              <a:buFontTx/>
              <a:buChar char="-"/>
            </a:pPr>
            <a:r>
              <a:rPr lang="en-US" dirty="0"/>
              <a:t>National Institute of Standards and Technology</a:t>
            </a:r>
            <a:r>
              <a:rPr lang="hu-HU" dirty="0"/>
              <a:t> (NIST)</a:t>
            </a:r>
          </a:p>
          <a:p>
            <a:pPr marL="742950" lvl="1" indent="-285750">
              <a:buFontTx/>
              <a:buChar char="-"/>
            </a:pPr>
            <a:r>
              <a:rPr lang="en-US" dirty="0"/>
              <a:t>Guide to Industrial Control Systems (ICS) Security</a:t>
            </a:r>
            <a:r>
              <a:rPr lang="hu-HU" dirty="0"/>
              <a:t> - SP 800-82 </a:t>
            </a:r>
            <a:r>
              <a:rPr lang="hu-HU" dirty="0" err="1"/>
              <a:t>Rev</a:t>
            </a:r>
            <a:r>
              <a:rPr lang="hu-HU" dirty="0"/>
              <a:t>. 2 / SP 800-82 </a:t>
            </a:r>
            <a:r>
              <a:rPr lang="hu-HU" dirty="0" err="1"/>
              <a:t>Rev</a:t>
            </a:r>
            <a:r>
              <a:rPr lang="hu-HU" dirty="0"/>
              <a:t>. 3 (</a:t>
            </a:r>
            <a:r>
              <a:rPr lang="hu-HU" dirty="0" err="1"/>
              <a:t>Draft</a:t>
            </a:r>
            <a:r>
              <a:rPr lang="hu-HU" dirty="0"/>
              <a:t>)</a:t>
            </a:r>
          </a:p>
          <a:p>
            <a:endParaRPr lang="hu-HU" dirty="0"/>
          </a:p>
          <a:p>
            <a:r>
              <a:rPr lang="hu-HU" dirty="0"/>
              <a:t>Kontron blogpostok:</a:t>
            </a:r>
          </a:p>
          <a:p>
            <a:r>
              <a:rPr lang="hu-HU">
                <a:hlinkClick r:id="rId2"/>
              </a:rPr>
              <a:t>Ipari </a:t>
            </a:r>
            <a:r>
              <a:rPr lang="hu-HU" dirty="0">
                <a:hlinkClick r:id="rId2"/>
              </a:rPr>
              <a:t>és gyártó rendszerek informatikai biztonsága </a:t>
            </a:r>
            <a:r>
              <a:rPr lang="hu-HU" dirty="0" err="1">
                <a:hlinkClick r:id="rId2"/>
              </a:rPr>
              <a:t>operational</a:t>
            </a:r>
            <a:r>
              <a:rPr lang="hu-HU" dirty="0">
                <a:hlinkClick r:id="rId2"/>
              </a:rPr>
              <a:t> </a:t>
            </a:r>
            <a:r>
              <a:rPr lang="hu-HU" dirty="0" err="1">
                <a:hlinkClick r:id="rId2"/>
              </a:rPr>
              <a:t>technology</a:t>
            </a:r>
            <a:r>
              <a:rPr lang="hu-HU" dirty="0">
                <a:hlinkClick r:id="rId2"/>
              </a:rPr>
              <a:t> security </a:t>
            </a:r>
            <a:r>
              <a:rPr lang="hu-HU" dirty="0">
                <a:hlinkClick r:id="" action="ppaction://noaction"/>
              </a:rPr>
              <a:t>–</a:t>
            </a:r>
            <a:r>
              <a:rPr lang="hu-HU" dirty="0">
                <a:hlinkClick r:id="rId2"/>
              </a:rPr>
              <a:t> Kontron</a:t>
            </a:r>
            <a:endParaRPr lang="hu-HU" dirty="0"/>
          </a:p>
          <a:p>
            <a:pPr marL="0" marR="0">
              <a:lnSpc>
                <a:spcPct val="107000"/>
              </a:lnSpc>
              <a:spcBef>
                <a:spcPts val="0"/>
              </a:spcBef>
              <a:spcAft>
                <a:spcPts val="800"/>
              </a:spcAft>
            </a:pPr>
            <a:r>
              <a:rPr lang="hu-HU" dirty="0">
                <a:hlinkClick r:id="rId3"/>
              </a:rPr>
              <a:t>Ipari hálózatok a </a:t>
            </a:r>
            <a:r>
              <a:rPr lang="hu-HU" dirty="0" err="1">
                <a:hlinkClick r:id="rId3"/>
              </a:rPr>
              <a:t>kibertámadók</a:t>
            </a:r>
            <a:r>
              <a:rPr lang="hu-HU" dirty="0">
                <a:hlinkClick r:id="rId3"/>
              </a:rPr>
              <a:t> csemegéje </a:t>
            </a:r>
            <a:r>
              <a:rPr lang="hu-HU" dirty="0">
                <a:hlinkClick r:id="rId4"/>
              </a:rPr>
              <a:t>–</a:t>
            </a:r>
            <a:r>
              <a:rPr lang="hu-HU" dirty="0">
                <a:hlinkClick r:id="rId3"/>
              </a:rPr>
              <a:t> Kontron</a:t>
            </a:r>
            <a:endParaRPr lang="hu-HU" dirty="0"/>
          </a:p>
          <a:p>
            <a:pPr marL="0" marR="0">
              <a:lnSpc>
                <a:spcPct val="107000"/>
              </a:lnSpc>
              <a:spcBef>
                <a:spcPts val="0"/>
              </a:spcBef>
              <a:spcAft>
                <a:spcPts val="800"/>
              </a:spcAft>
            </a:pPr>
            <a:r>
              <a:rPr lang="hu-HU" dirty="0">
                <a:hlinkClick r:id="rId5"/>
              </a:rPr>
              <a:t>Ipari hálózatok átláthatósága és védelme </a:t>
            </a:r>
            <a:r>
              <a:rPr lang="hu-HU" dirty="0" err="1">
                <a:hlinkClick r:id="rId5"/>
              </a:rPr>
              <a:t>Ixia</a:t>
            </a:r>
            <a:r>
              <a:rPr lang="hu-HU" dirty="0">
                <a:hlinkClick r:id="rId5"/>
              </a:rPr>
              <a:t> és </a:t>
            </a:r>
            <a:r>
              <a:rPr lang="hu-HU" dirty="0" err="1">
                <a:hlinkClick r:id="rId5"/>
              </a:rPr>
              <a:t>Nozomi</a:t>
            </a:r>
            <a:r>
              <a:rPr lang="hu-HU" dirty="0">
                <a:hlinkClick r:id="rId5"/>
              </a:rPr>
              <a:t> eszközökkel </a:t>
            </a:r>
            <a:r>
              <a:rPr lang="hu-HU" dirty="0">
                <a:hlinkClick r:id="rId6"/>
              </a:rPr>
              <a:t>–</a:t>
            </a:r>
            <a:r>
              <a:rPr lang="hu-HU" dirty="0">
                <a:hlinkClick r:id="rId5"/>
              </a:rPr>
              <a:t> Kontron</a:t>
            </a:r>
            <a:endParaRPr lang="hu-HU" dirty="0"/>
          </a:p>
          <a:p>
            <a:pPr marL="0" marR="0">
              <a:lnSpc>
                <a:spcPct val="107000"/>
              </a:lnSpc>
              <a:spcBef>
                <a:spcPts val="0"/>
              </a:spcBef>
              <a:spcAft>
                <a:spcPts val="800"/>
              </a:spcAft>
            </a:pPr>
            <a:r>
              <a:rPr lang="en-US" dirty="0">
                <a:hlinkClick r:id="rId7"/>
              </a:rPr>
              <a:t>Industry 4.0 – Network Visibility and Protection with Keysight and Nozomi devices - Kontron</a:t>
            </a:r>
            <a:endParaRPr lang="hu-HU" dirty="0"/>
          </a:p>
        </p:txBody>
      </p:sp>
      <p:pic>
        <p:nvPicPr>
          <p:cNvPr id="4" name="Picture 3" descr="A picture containing electric blue, text, majorelle blue, blue">
            <a:extLst>
              <a:ext uri="{FF2B5EF4-FFF2-40B4-BE49-F238E27FC236}">
                <a16:creationId xmlns:a16="http://schemas.microsoft.com/office/drawing/2014/main" id="{8DE83279-C783-B9F5-615C-F4DA687CC9DF}"/>
              </a:ext>
            </a:extLst>
          </p:cNvPr>
          <p:cNvPicPr>
            <a:picLocks noChangeAspect="1"/>
          </p:cNvPicPr>
          <p:nvPr/>
        </p:nvPicPr>
        <p:blipFill>
          <a:blip r:embed="rId8"/>
          <a:stretch>
            <a:fillRect/>
          </a:stretch>
        </p:blipFill>
        <p:spPr>
          <a:xfrm>
            <a:off x="6299" y="1495"/>
            <a:ext cx="12185701" cy="1579418"/>
          </a:xfrm>
          <a:prstGeom prst="rect">
            <a:avLst/>
          </a:prstGeom>
        </p:spPr>
      </p:pic>
      <p:pic>
        <p:nvPicPr>
          <p:cNvPr id="5" name="Picture 4" descr="A képen szöveg, clipart látható&#10;&#10;Automatikusan generált leírás">
            <a:extLst>
              <a:ext uri="{FF2B5EF4-FFF2-40B4-BE49-F238E27FC236}">
                <a16:creationId xmlns:a16="http://schemas.microsoft.com/office/drawing/2014/main" id="{80B3B36F-1211-D7CA-5253-14D646A159DF}"/>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10515600" y="1828800"/>
            <a:ext cx="1499235" cy="279400"/>
          </a:xfrm>
          <a:prstGeom prst="rect">
            <a:avLst/>
          </a:prstGeom>
          <a:noFill/>
        </p:spPr>
      </p:pic>
    </p:spTree>
    <p:extLst>
      <p:ext uri="{BB962C8B-B14F-4D97-AF65-F5344CB8AC3E}">
        <p14:creationId xmlns:p14="http://schemas.microsoft.com/office/powerpoint/2010/main" val="139609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E5BD5BA8-9EAC-5E94-E015-D285E29E0D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2" name="think-cell data - do not delete" hidden="1">
                        <a:extLst>
                          <a:ext uri="{FF2B5EF4-FFF2-40B4-BE49-F238E27FC236}">
                            <a16:creationId xmlns:a16="http://schemas.microsoft.com/office/drawing/2014/main" id="{E5BD5BA8-9EAC-5E94-E015-D285E29E0D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2213DC5-360A-B1CA-8871-C9AF2A3B5FFB}"/>
              </a:ext>
            </a:extLst>
          </p:cNvPr>
          <p:cNvSpPr>
            <a:spLocks noGrp="1"/>
          </p:cNvSpPr>
          <p:nvPr>
            <p:ph type="title"/>
          </p:nvPr>
        </p:nvSpPr>
        <p:spPr>
          <a:xfrm>
            <a:off x="695325" y="1857375"/>
            <a:ext cx="3484789" cy="664797"/>
          </a:xfrm>
        </p:spPr>
        <p:txBody>
          <a:bodyPr vert="horz"/>
          <a:lstStyle/>
          <a:p>
            <a:r>
              <a:rPr lang="en-US" dirty="0"/>
              <a:t>Contact</a:t>
            </a:r>
          </a:p>
        </p:txBody>
      </p:sp>
      <p:sp>
        <p:nvSpPr>
          <p:cNvPr id="3" name="Textplatzhalter 2">
            <a:extLst>
              <a:ext uri="{FF2B5EF4-FFF2-40B4-BE49-F238E27FC236}">
                <a16:creationId xmlns:a16="http://schemas.microsoft.com/office/drawing/2014/main" id="{F0ADE1AD-CBA4-291E-6570-80424FD9D245}"/>
              </a:ext>
            </a:extLst>
          </p:cNvPr>
          <p:cNvSpPr>
            <a:spLocks noGrp="1"/>
          </p:cNvSpPr>
          <p:nvPr>
            <p:ph type="body" sz="quarter" idx="10"/>
          </p:nvPr>
        </p:nvSpPr>
        <p:spPr>
          <a:xfrm>
            <a:off x="695325" y="2928938"/>
            <a:ext cx="3484789" cy="1465262"/>
          </a:xfrm>
        </p:spPr>
        <p:txBody>
          <a:bodyPr/>
          <a:lstStyle/>
          <a:p>
            <a:pPr lvl="0"/>
            <a:r>
              <a:rPr lang="hu-HU" dirty="0"/>
              <a:t>Piszker György</a:t>
            </a:r>
            <a:endParaRPr lang="de-DE" dirty="0"/>
          </a:p>
          <a:p>
            <a:pPr lvl="0"/>
            <a:r>
              <a:rPr lang="hu-HU" dirty="0"/>
              <a:t>Rendszer </a:t>
            </a:r>
            <a:r>
              <a:rPr lang="hu-HU" dirty="0" err="1"/>
              <a:t>Architect</a:t>
            </a:r>
            <a:r>
              <a:rPr lang="hu-HU" dirty="0"/>
              <a:t> vezető</a:t>
            </a:r>
            <a:endParaRPr lang="de-DE" dirty="0"/>
          </a:p>
          <a:p>
            <a:pPr lvl="0"/>
            <a:r>
              <a:rPr lang="hu-HU" dirty="0"/>
              <a:t>gyorgy.piszker@kontron.hu</a:t>
            </a:r>
            <a:endParaRPr lang="de-DE" dirty="0"/>
          </a:p>
        </p:txBody>
      </p:sp>
      <p:pic>
        <p:nvPicPr>
          <p:cNvPr id="4" name="Picture 3" descr="A picture containing electric blue, text, majorelle blue, blue">
            <a:extLst>
              <a:ext uri="{FF2B5EF4-FFF2-40B4-BE49-F238E27FC236}">
                <a16:creationId xmlns:a16="http://schemas.microsoft.com/office/drawing/2014/main" id="{2EB7C188-EAD3-C955-C126-D189507EEB09}"/>
              </a:ext>
            </a:extLst>
          </p:cNvPr>
          <p:cNvPicPr>
            <a:picLocks noChangeAspect="1"/>
          </p:cNvPicPr>
          <p:nvPr/>
        </p:nvPicPr>
        <p:blipFill>
          <a:blip r:embed="rId5"/>
          <a:stretch>
            <a:fillRect/>
          </a:stretch>
        </p:blipFill>
        <p:spPr>
          <a:xfrm>
            <a:off x="6299" y="1495"/>
            <a:ext cx="12185701" cy="1579418"/>
          </a:xfrm>
          <a:prstGeom prst="rect">
            <a:avLst/>
          </a:prstGeom>
        </p:spPr>
      </p:pic>
      <p:sp>
        <p:nvSpPr>
          <p:cNvPr id="5" name="Textplatzhalter 2">
            <a:extLst>
              <a:ext uri="{FF2B5EF4-FFF2-40B4-BE49-F238E27FC236}">
                <a16:creationId xmlns:a16="http://schemas.microsoft.com/office/drawing/2014/main" id="{DF15FFF6-E7E3-E2AD-839D-DF9B0496A3F7}"/>
              </a:ext>
            </a:extLst>
          </p:cNvPr>
          <p:cNvSpPr txBox="1">
            <a:spLocks/>
          </p:cNvSpPr>
          <p:nvPr/>
        </p:nvSpPr>
        <p:spPr>
          <a:xfrm>
            <a:off x="695325" y="4198938"/>
            <a:ext cx="3800475" cy="1465262"/>
          </a:xfrm>
          <a:prstGeom prst="rect">
            <a:avLst/>
          </a:prstGeom>
        </p:spPr>
        <p:txBody>
          <a:bodyPr vert="horz" lIns="0" tIns="0" rIns="0" bIns="0" rtlCol="0">
            <a:normAutofit/>
          </a:bodyPr>
          <a:lstStyle>
            <a:lvl1pPr marL="0" indent="0" algn="l" defTabSz="914400" rtl="0" eaLnBrk="1" latinLnBrk="0" hangingPunct="1">
              <a:lnSpc>
                <a:spcPct val="100000"/>
              </a:lnSpc>
              <a:spcBef>
                <a:spcPts val="300"/>
              </a:spcBef>
              <a:buClr>
                <a:schemeClr val="accent1"/>
              </a:buClr>
              <a:buFont typeface="Calibri Light" panose="020F0302020204030204" pitchFamily="34" charset="0"/>
              <a:buNone/>
              <a:defRPr sz="2000" kern="1200">
                <a:solidFill>
                  <a:schemeClr val="bg1"/>
                </a:solidFill>
                <a:latin typeface="+mn-lt"/>
                <a:ea typeface="+mn-ea"/>
                <a:cs typeface="+mn-cs"/>
              </a:defRPr>
            </a:lvl1pPr>
            <a:lvl2pPr marL="216000" indent="0" algn="l" defTabSz="914400" rtl="0" eaLnBrk="1" latinLnBrk="0" hangingPunct="1">
              <a:lnSpc>
                <a:spcPct val="100000"/>
              </a:lnSpc>
              <a:spcBef>
                <a:spcPts val="300"/>
              </a:spcBef>
              <a:buClr>
                <a:schemeClr val="accent1"/>
              </a:buClr>
              <a:buFont typeface="Calibri Light" panose="020F0302020204030204" pitchFamily="34" charset="0"/>
              <a:buNone/>
              <a:defRPr sz="1800" kern="1200">
                <a:solidFill>
                  <a:schemeClr val="bg1"/>
                </a:solidFill>
                <a:latin typeface="+mn-lt"/>
                <a:ea typeface="+mn-ea"/>
                <a:cs typeface="+mn-cs"/>
              </a:defRPr>
            </a:lvl2pPr>
            <a:lvl3pPr marL="432000" indent="0" algn="l" defTabSz="914400" rtl="0" eaLnBrk="1" latinLnBrk="0" hangingPunct="1">
              <a:lnSpc>
                <a:spcPct val="100000"/>
              </a:lnSpc>
              <a:spcBef>
                <a:spcPts val="300"/>
              </a:spcBef>
              <a:buClr>
                <a:schemeClr val="accent1"/>
              </a:buClr>
              <a:buFont typeface="Calibri Light" panose="020F0302020204030204" pitchFamily="34" charset="0"/>
              <a:buNone/>
              <a:defRPr sz="1600" kern="1200">
                <a:solidFill>
                  <a:schemeClr val="bg1"/>
                </a:solidFill>
                <a:latin typeface="+mn-lt"/>
                <a:ea typeface="+mn-ea"/>
                <a:cs typeface="+mn-cs"/>
              </a:defRPr>
            </a:lvl3pPr>
            <a:lvl4pPr marL="648000" indent="0" algn="l" defTabSz="914400" rtl="0" eaLnBrk="1" latinLnBrk="0" hangingPunct="1">
              <a:lnSpc>
                <a:spcPct val="100000"/>
              </a:lnSpc>
              <a:spcBef>
                <a:spcPts val="300"/>
              </a:spcBef>
              <a:buClr>
                <a:schemeClr val="accent1"/>
              </a:buClr>
              <a:buFont typeface="Calibri Light" panose="020F0302020204030204" pitchFamily="34" charset="0"/>
              <a:buNone/>
              <a:defRPr sz="1400" kern="1200">
                <a:solidFill>
                  <a:schemeClr val="bg1"/>
                </a:solidFill>
                <a:latin typeface="+mn-lt"/>
                <a:ea typeface="+mn-ea"/>
                <a:cs typeface="+mn-cs"/>
              </a:defRPr>
            </a:lvl4pPr>
            <a:lvl5pPr marL="864000" indent="0" algn="l" defTabSz="914400" rtl="0" eaLnBrk="1" latinLnBrk="0" hangingPunct="1">
              <a:lnSpc>
                <a:spcPct val="100000"/>
              </a:lnSpc>
              <a:spcBef>
                <a:spcPts val="300"/>
              </a:spcBef>
              <a:buClr>
                <a:schemeClr val="accent1"/>
              </a:buClr>
              <a:buFont typeface="Calibri Light" panose="020F0302020204030204" pitchFamily="34" charset="0"/>
              <a:buNone/>
              <a:defRPr sz="12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hu-HU" dirty="0"/>
              <a:t>Kontron Hungary Kft.</a:t>
            </a:r>
            <a:endParaRPr lang="de-DE" dirty="0"/>
          </a:p>
          <a:p>
            <a:r>
              <a:rPr lang="hu-HU" dirty="0"/>
              <a:t>2040 Budaörs Puskás Tivadar út 14/C</a:t>
            </a:r>
            <a:endParaRPr lang="de-DE" dirty="0"/>
          </a:p>
          <a:p>
            <a:r>
              <a:rPr lang="hu-HU" b="0" i="0" dirty="0">
                <a:solidFill>
                  <a:srgbClr val="FFFFFF"/>
                </a:solidFill>
                <a:effectLst/>
                <a:latin typeface="Exo 2"/>
              </a:rPr>
              <a:t>T: +36 1 371 8000</a:t>
            </a:r>
          </a:p>
          <a:p>
            <a:r>
              <a:rPr lang="hu-HU" b="0" i="0" u="none" strike="noStrike" dirty="0">
                <a:effectLst/>
                <a:latin typeface="Exo 2"/>
                <a:hlinkClick r:id="rId6"/>
              </a:rPr>
              <a:t>kontron@kontron.hu</a:t>
            </a:r>
            <a:endParaRPr lang="de-DE" dirty="0"/>
          </a:p>
        </p:txBody>
      </p:sp>
    </p:spTree>
    <p:extLst>
      <p:ext uri="{BB962C8B-B14F-4D97-AF65-F5344CB8AC3E}">
        <p14:creationId xmlns:p14="http://schemas.microsoft.com/office/powerpoint/2010/main" val="14214933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677D91F1-8EEC-4EF5-90DD-0C6770704AFC}"/>
              </a:ext>
            </a:extLst>
          </p:cNvPr>
          <p:cNvSpPr>
            <a:spLocks noGrp="1"/>
          </p:cNvSpPr>
          <p:nvPr>
            <p:ph type="sldNum" sz="quarter" idx="12"/>
          </p:nvPr>
        </p:nvSpPr>
        <p:spPr>
          <a:xfrm>
            <a:off x="10820400" y="7727376"/>
            <a:ext cx="889000" cy="254000"/>
          </a:xfrm>
        </p:spPr>
        <p:txBody>
          <a:bodyPr/>
          <a:lstStyle/>
          <a:p>
            <a:fld id="{3C6863D3-0438-440B-9B18-903EFF5BE46F}" type="slidenum">
              <a:rPr lang="en-US" smtClean="0"/>
              <a:pPr/>
              <a:t>3</a:t>
            </a:fld>
            <a:endParaRPr lang="en-US" dirty="0"/>
          </a:p>
        </p:txBody>
      </p:sp>
      <p:sp>
        <p:nvSpPr>
          <p:cNvPr id="9" name="Titel 8">
            <a:extLst>
              <a:ext uri="{FF2B5EF4-FFF2-40B4-BE49-F238E27FC236}">
                <a16:creationId xmlns:a16="http://schemas.microsoft.com/office/drawing/2014/main" id="{F6B4FEA6-3C17-4511-BB8F-8EE6DD883ECA}"/>
              </a:ext>
            </a:extLst>
          </p:cNvPr>
          <p:cNvSpPr>
            <a:spLocks noGrp="1"/>
          </p:cNvSpPr>
          <p:nvPr>
            <p:ph type="title"/>
          </p:nvPr>
        </p:nvSpPr>
        <p:spPr>
          <a:xfrm>
            <a:off x="482600" y="1796476"/>
            <a:ext cx="9359900" cy="355600"/>
          </a:xfrm>
        </p:spPr>
        <p:txBody>
          <a:bodyPr/>
          <a:lstStyle/>
          <a:p>
            <a:r>
              <a:rPr lang="hu-HU" dirty="0"/>
              <a:t>IT és OT/ICS Security</a:t>
            </a:r>
            <a:endParaRPr lang="de-AT" dirty="0"/>
          </a:p>
        </p:txBody>
      </p:sp>
      <p:sp>
        <p:nvSpPr>
          <p:cNvPr id="6" name="AutoShape 2" descr="ICT vs ICS priorities (Adapted from (ISA-99.00.01)) | Download Scientific  Diagram">
            <a:extLst>
              <a:ext uri="{FF2B5EF4-FFF2-40B4-BE49-F238E27FC236}">
                <a16:creationId xmlns:a16="http://schemas.microsoft.com/office/drawing/2014/main" id="{6F726DB0-306A-F3F0-4149-75E42E771618}"/>
              </a:ext>
            </a:extLst>
          </p:cNvPr>
          <p:cNvSpPr>
            <a:spLocks noChangeAspect="1" noChangeArrowheads="1"/>
          </p:cNvSpPr>
          <p:nvPr/>
        </p:nvSpPr>
        <p:spPr bwMode="auto">
          <a:xfrm>
            <a:off x="5791200" y="30800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hu-HU"/>
          </a:p>
        </p:txBody>
      </p:sp>
      <p:sp>
        <p:nvSpPr>
          <p:cNvPr id="16" name="Arrow: Right 15">
            <a:extLst>
              <a:ext uri="{FF2B5EF4-FFF2-40B4-BE49-F238E27FC236}">
                <a16:creationId xmlns:a16="http://schemas.microsoft.com/office/drawing/2014/main" id="{FD130FF5-F127-F68A-9B1B-B080B974BC5C}"/>
              </a:ext>
            </a:extLst>
          </p:cNvPr>
          <p:cNvSpPr/>
          <p:nvPr/>
        </p:nvSpPr>
        <p:spPr>
          <a:xfrm rot="16200000">
            <a:off x="3869859" y="3994651"/>
            <a:ext cx="3525182" cy="200077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4000" dirty="0"/>
              <a:t>Prioritás</a:t>
            </a:r>
          </a:p>
        </p:txBody>
      </p:sp>
      <p:sp>
        <p:nvSpPr>
          <p:cNvPr id="18" name="TextBox 17">
            <a:extLst>
              <a:ext uri="{FF2B5EF4-FFF2-40B4-BE49-F238E27FC236}">
                <a16:creationId xmlns:a16="http://schemas.microsoft.com/office/drawing/2014/main" id="{BDAA47B2-01FF-1EDA-9240-8137E893F01C}"/>
              </a:ext>
            </a:extLst>
          </p:cNvPr>
          <p:cNvSpPr txBox="1"/>
          <p:nvPr/>
        </p:nvSpPr>
        <p:spPr>
          <a:xfrm>
            <a:off x="2756380" y="2389599"/>
            <a:ext cx="5752139" cy="707886"/>
          </a:xfrm>
          <a:prstGeom prst="rect">
            <a:avLst/>
          </a:prstGeom>
          <a:noFill/>
        </p:spPr>
        <p:txBody>
          <a:bodyPr wrap="square" rtlCol="0">
            <a:spAutoFit/>
          </a:bodyPr>
          <a:lstStyle/>
          <a:p>
            <a:pPr algn="ctr"/>
            <a:r>
              <a:rPr lang="hu-HU" sz="4000" dirty="0"/>
              <a:t>Üzleti, Security prioritások</a:t>
            </a:r>
          </a:p>
        </p:txBody>
      </p:sp>
      <p:sp>
        <p:nvSpPr>
          <p:cNvPr id="19" name="TextBox 18">
            <a:extLst>
              <a:ext uri="{FF2B5EF4-FFF2-40B4-BE49-F238E27FC236}">
                <a16:creationId xmlns:a16="http://schemas.microsoft.com/office/drawing/2014/main" id="{B09F6C1F-0462-B98A-DE88-45F5FC20099F}"/>
              </a:ext>
            </a:extLst>
          </p:cNvPr>
          <p:cNvSpPr txBox="1"/>
          <p:nvPr/>
        </p:nvSpPr>
        <p:spPr>
          <a:xfrm>
            <a:off x="358003" y="3283311"/>
            <a:ext cx="4404978" cy="3477875"/>
          </a:xfrm>
          <a:prstGeom prst="rect">
            <a:avLst/>
          </a:prstGeom>
          <a:noFill/>
        </p:spPr>
        <p:txBody>
          <a:bodyPr wrap="square" rtlCol="0">
            <a:spAutoFit/>
          </a:bodyPr>
          <a:lstStyle/>
          <a:p>
            <a:pPr algn="ctr"/>
            <a:r>
              <a:rPr lang="hu-HU" sz="4400" dirty="0"/>
              <a:t>IT rendszerek</a:t>
            </a:r>
          </a:p>
          <a:p>
            <a:pPr algn="ctr"/>
            <a:r>
              <a:rPr lang="hu-HU" sz="4400" dirty="0"/>
              <a:t> </a:t>
            </a:r>
          </a:p>
          <a:p>
            <a:r>
              <a:rPr lang="hu-HU" sz="4400" dirty="0"/>
              <a:t>C</a:t>
            </a:r>
            <a:r>
              <a:rPr lang="hu-HU" sz="2400" dirty="0"/>
              <a:t>onfidentiality – Bizalmasság </a:t>
            </a:r>
          </a:p>
          <a:p>
            <a:r>
              <a:rPr lang="hu-HU" sz="4400" dirty="0"/>
              <a:t>I</a:t>
            </a:r>
            <a:r>
              <a:rPr lang="hu-HU" sz="2400" dirty="0"/>
              <a:t>ntegrity - Egységesség</a:t>
            </a:r>
          </a:p>
          <a:p>
            <a:r>
              <a:rPr lang="hu-HU" sz="4400" dirty="0"/>
              <a:t>A</a:t>
            </a:r>
            <a:r>
              <a:rPr lang="hu-HU" sz="2400" dirty="0"/>
              <a:t>vailability - Elérhetőség</a:t>
            </a:r>
          </a:p>
        </p:txBody>
      </p:sp>
      <p:sp>
        <p:nvSpPr>
          <p:cNvPr id="20" name="TextBox 19">
            <a:extLst>
              <a:ext uri="{FF2B5EF4-FFF2-40B4-BE49-F238E27FC236}">
                <a16:creationId xmlns:a16="http://schemas.microsoft.com/office/drawing/2014/main" id="{04C168F6-2731-604A-4214-A787BB5EEA22}"/>
              </a:ext>
            </a:extLst>
          </p:cNvPr>
          <p:cNvSpPr txBox="1"/>
          <p:nvPr/>
        </p:nvSpPr>
        <p:spPr>
          <a:xfrm>
            <a:off x="6859922" y="3279756"/>
            <a:ext cx="5060834" cy="3477875"/>
          </a:xfrm>
          <a:prstGeom prst="rect">
            <a:avLst/>
          </a:prstGeom>
          <a:noFill/>
        </p:spPr>
        <p:txBody>
          <a:bodyPr wrap="square" rtlCol="0">
            <a:spAutoFit/>
          </a:bodyPr>
          <a:lstStyle/>
          <a:p>
            <a:pPr algn="ctr"/>
            <a:r>
              <a:rPr lang="hu-HU" sz="4400" dirty="0"/>
              <a:t>OT/ICS rendszerek</a:t>
            </a:r>
          </a:p>
          <a:p>
            <a:r>
              <a:rPr lang="hu-HU" sz="4400" dirty="0" err="1"/>
              <a:t>O</a:t>
            </a:r>
            <a:r>
              <a:rPr lang="hu-HU" sz="2400" dirty="0" err="1"/>
              <a:t>perability</a:t>
            </a:r>
            <a:r>
              <a:rPr lang="hu-HU" sz="2400" dirty="0"/>
              <a:t> - Működőképesség</a:t>
            </a:r>
            <a:r>
              <a:rPr lang="hu-HU" sz="4400" dirty="0"/>
              <a:t> </a:t>
            </a:r>
          </a:p>
          <a:p>
            <a:r>
              <a:rPr lang="hu-HU" sz="4400" dirty="0"/>
              <a:t>A</a:t>
            </a:r>
            <a:r>
              <a:rPr lang="hu-HU" sz="2400" dirty="0"/>
              <a:t>vailability</a:t>
            </a:r>
            <a:r>
              <a:rPr lang="hu-HU" sz="4400" dirty="0"/>
              <a:t> </a:t>
            </a:r>
            <a:r>
              <a:rPr lang="hu-HU" sz="2400" dirty="0"/>
              <a:t>- Elérhetőség</a:t>
            </a:r>
          </a:p>
          <a:p>
            <a:r>
              <a:rPr lang="hu-HU" sz="4400" dirty="0"/>
              <a:t>I</a:t>
            </a:r>
            <a:r>
              <a:rPr lang="hu-HU" sz="2400" dirty="0"/>
              <a:t>ntegrity</a:t>
            </a:r>
            <a:r>
              <a:rPr lang="hu-HU" sz="4400" dirty="0"/>
              <a:t> </a:t>
            </a:r>
            <a:r>
              <a:rPr lang="hu-HU" sz="2400" dirty="0"/>
              <a:t>- Egységesség</a:t>
            </a:r>
          </a:p>
          <a:p>
            <a:r>
              <a:rPr lang="hu-HU" sz="4400" dirty="0"/>
              <a:t>C</a:t>
            </a:r>
            <a:r>
              <a:rPr lang="hu-HU" sz="2400" dirty="0"/>
              <a:t>onfidentiality – Bizalmasság </a:t>
            </a:r>
          </a:p>
        </p:txBody>
      </p:sp>
      <p:pic>
        <p:nvPicPr>
          <p:cNvPr id="7" name="Picture 6" descr="A picture containing electric blue, text, majorelle blue, blue">
            <a:extLst>
              <a:ext uri="{FF2B5EF4-FFF2-40B4-BE49-F238E27FC236}">
                <a16:creationId xmlns:a16="http://schemas.microsoft.com/office/drawing/2014/main" id="{BCB11175-3222-28AC-2416-2A9DBC8A6F1E}"/>
              </a:ext>
            </a:extLst>
          </p:cNvPr>
          <p:cNvPicPr>
            <a:picLocks noChangeAspect="1"/>
          </p:cNvPicPr>
          <p:nvPr/>
        </p:nvPicPr>
        <p:blipFill>
          <a:blip r:embed="rId3"/>
          <a:stretch>
            <a:fillRect/>
          </a:stretch>
        </p:blipFill>
        <p:spPr>
          <a:xfrm>
            <a:off x="6299" y="1"/>
            <a:ext cx="12185701" cy="1579418"/>
          </a:xfrm>
          <a:prstGeom prst="rect">
            <a:avLst/>
          </a:prstGeom>
        </p:spPr>
      </p:pic>
      <p:pic>
        <p:nvPicPr>
          <p:cNvPr id="3" name="Picture 2" descr="A képen szöveg, clipart látható&#10;&#10;Automatikusan generált leírás">
            <a:extLst>
              <a:ext uri="{FF2B5EF4-FFF2-40B4-BE49-F238E27FC236}">
                <a16:creationId xmlns:a16="http://schemas.microsoft.com/office/drawing/2014/main" id="{00FD9665-EF2E-37EC-75F5-0EF454289A1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15600" y="1828800"/>
            <a:ext cx="1499235" cy="279400"/>
          </a:xfrm>
          <a:prstGeom prst="rect">
            <a:avLst/>
          </a:prstGeom>
          <a:noFill/>
        </p:spPr>
      </p:pic>
    </p:spTree>
    <p:extLst>
      <p:ext uri="{BB962C8B-B14F-4D97-AF65-F5344CB8AC3E}">
        <p14:creationId xmlns:p14="http://schemas.microsoft.com/office/powerpoint/2010/main" val="362151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9E3B40A3-1E0F-4449-9A92-A4D10B006009}"/>
              </a:ext>
            </a:extLst>
          </p:cNvPr>
          <p:cNvSpPr>
            <a:spLocks noGrp="1"/>
          </p:cNvSpPr>
          <p:nvPr>
            <p:ph type="body" sz="quarter" idx="17"/>
          </p:nvPr>
        </p:nvSpPr>
        <p:spPr>
          <a:xfrm>
            <a:off x="0" y="6489700"/>
            <a:ext cx="12192000" cy="355600"/>
          </a:xfrm>
        </p:spPr>
        <p:txBody>
          <a:bodyPr/>
          <a:lstStyle/>
          <a:p>
            <a:pPr algn="ctr"/>
            <a:r>
              <a:rPr lang="hu-HU" sz="3200" dirty="0"/>
              <a:t>Tulajdonképpen minden szép és jó. Etetni, nem hozzányúlni.</a:t>
            </a:r>
            <a:endParaRPr lang="de-AT" sz="3200" dirty="0"/>
          </a:p>
        </p:txBody>
      </p:sp>
      <p:sp>
        <p:nvSpPr>
          <p:cNvPr id="2" name="Foliennummernplatzhalter 1">
            <a:extLst>
              <a:ext uri="{FF2B5EF4-FFF2-40B4-BE49-F238E27FC236}">
                <a16:creationId xmlns:a16="http://schemas.microsoft.com/office/drawing/2014/main" id="{677D91F1-8EEC-4EF5-90DD-0C6770704AFC}"/>
              </a:ext>
            </a:extLst>
          </p:cNvPr>
          <p:cNvSpPr>
            <a:spLocks noGrp="1"/>
          </p:cNvSpPr>
          <p:nvPr>
            <p:ph type="sldNum" sz="quarter" idx="12"/>
          </p:nvPr>
        </p:nvSpPr>
        <p:spPr/>
        <p:txBody>
          <a:bodyPr/>
          <a:lstStyle/>
          <a:p>
            <a:fld id="{3C6863D3-0438-440B-9B18-903EFF5BE46F}" type="slidenum">
              <a:rPr lang="en-US" smtClean="0"/>
              <a:pPr/>
              <a:t>4</a:t>
            </a:fld>
            <a:endParaRPr lang="en-US" dirty="0"/>
          </a:p>
        </p:txBody>
      </p:sp>
      <p:sp>
        <p:nvSpPr>
          <p:cNvPr id="10" name="Textplatzhalter 9">
            <a:extLst>
              <a:ext uri="{FF2B5EF4-FFF2-40B4-BE49-F238E27FC236}">
                <a16:creationId xmlns:a16="http://schemas.microsoft.com/office/drawing/2014/main" id="{CE8EEE56-0F76-4ACF-BD59-97F0632865CF}"/>
              </a:ext>
            </a:extLst>
          </p:cNvPr>
          <p:cNvSpPr>
            <a:spLocks noGrp="1"/>
          </p:cNvSpPr>
          <p:nvPr>
            <p:ph type="body" sz="quarter" idx="14"/>
          </p:nvPr>
        </p:nvSpPr>
        <p:spPr>
          <a:xfrm>
            <a:off x="78761" y="2542894"/>
            <a:ext cx="2286000" cy="279400"/>
          </a:xfrm>
        </p:spPr>
        <p:txBody>
          <a:bodyPr/>
          <a:lstStyle/>
          <a:p>
            <a:pPr algn="ctr"/>
            <a:r>
              <a:rPr lang="hu-HU" sz="2800" dirty="0"/>
              <a:t>Iparági tapasztalatok - Pro</a:t>
            </a:r>
            <a:endParaRPr lang="de-AT" sz="2800" dirty="0"/>
          </a:p>
        </p:txBody>
      </p:sp>
      <p:sp>
        <p:nvSpPr>
          <p:cNvPr id="9" name="Titel 8">
            <a:extLst>
              <a:ext uri="{FF2B5EF4-FFF2-40B4-BE49-F238E27FC236}">
                <a16:creationId xmlns:a16="http://schemas.microsoft.com/office/drawing/2014/main" id="{F6B4FEA6-3C17-4511-BB8F-8EE6DD883ECA}"/>
              </a:ext>
            </a:extLst>
          </p:cNvPr>
          <p:cNvSpPr>
            <a:spLocks noGrp="1"/>
          </p:cNvSpPr>
          <p:nvPr>
            <p:ph type="title"/>
          </p:nvPr>
        </p:nvSpPr>
        <p:spPr>
          <a:xfrm>
            <a:off x="482600" y="1028700"/>
            <a:ext cx="9359900" cy="355600"/>
          </a:xfrm>
        </p:spPr>
        <p:txBody>
          <a:bodyPr/>
          <a:lstStyle/>
          <a:p>
            <a:r>
              <a:rPr lang="hu-HU" dirty="0"/>
              <a:t>OT/ICS Security</a:t>
            </a:r>
            <a:endParaRPr lang="de-AT" dirty="0"/>
          </a:p>
        </p:txBody>
      </p:sp>
      <p:sp>
        <p:nvSpPr>
          <p:cNvPr id="21" name="Rectangle 20">
            <a:extLst>
              <a:ext uri="{FF2B5EF4-FFF2-40B4-BE49-F238E27FC236}">
                <a16:creationId xmlns:a16="http://schemas.microsoft.com/office/drawing/2014/main" id="{D53FD00C-D7FA-458A-4C30-A6453566F440}"/>
              </a:ext>
            </a:extLst>
          </p:cNvPr>
          <p:cNvSpPr/>
          <p:nvPr/>
        </p:nvSpPr>
        <p:spPr>
          <a:xfrm>
            <a:off x="2364761" y="1847338"/>
            <a:ext cx="2286000" cy="2286000"/>
          </a:xfrm>
          <a:prstGeom prst="rect">
            <a:avLst/>
          </a:prstGeom>
          <a:solidFill>
            <a:srgbClr val="ECA2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solidFill>
                  <a:schemeClr val="tx2"/>
                </a:solidFill>
              </a:rPr>
              <a:t>Automatizáltak,</a:t>
            </a:r>
          </a:p>
          <a:p>
            <a:pPr algn="ctr"/>
            <a:r>
              <a:rPr lang="hu-HU" dirty="0">
                <a:solidFill>
                  <a:schemeClr val="tx2"/>
                </a:solidFill>
              </a:rPr>
              <a:t>minimális emberi beavatkozást igényel az üzemeltetésük</a:t>
            </a:r>
          </a:p>
        </p:txBody>
      </p:sp>
      <p:sp>
        <p:nvSpPr>
          <p:cNvPr id="23" name="Rectangle 22">
            <a:extLst>
              <a:ext uri="{FF2B5EF4-FFF2-40B4-BE49-F238E27FC236}">
                <a16:creationId xmlns:a16="http://schemas.microsoft.com/office/drawing/2014/main" id="{02DA3CF3-0FCE-D850-655C-F49E50991119}"/>
              </a:ext>
            </a:extLst>
          </p:cNvPr>
          <p:cNvSpPr/>
          <p:nvPr/>
        </p:nvSpPr>
        <p:spPr>
          <a:xfrm>
            <a:off x="78761" y="4122584"/>
            <a:ext cx="2286000" cy="2286000"/>
          </a:xfrm>
          <a:prstGeom prst="rect">
            <a:avLst/>
          </a:prstGeom>
          <a:solidFill>
            <a:srgbClr val="ECA2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sz="1800" dirty="0">
                <a:solidFill>
                  <a:schemeClr val="tx2"/>
                </a:solidFill>
              </a:rPr>
              <a:t>Az OT/ICS </a:t>
            </a:r>
            <a:r>
              <a:rPr lang="hu-HU" dirty="0">
                <a:solidFill>
                  <a:schemeClr val="tx2"/>
                </a:solidFill>
              </a:rPr>
              <a:t>rendszerek szélsőséges körülmények között is </a:t>
            </a:r>
            <a:r>
              <a:rPr lang="hu-HU" sz="1800" dirty="0" err="1">
                <a:solidFill>
                  <a:schemeClr val="tx2"/>
                </a:solidFill>
              </a:rPr>
              <a:t>stabilak</a:t>
            </a:r>
            <a:r>
              <a:rPr lang="hu-HU" sz="1800" dirty="0">
                <a:solidFill>
                  <a:schemeClr val="tx2"/>
                </a:solidFill>
              </a:rPr>
              <a:t>, magas rendelkezésre állásúak</a:t>
            </a:r>
          </a:p>
          <a:p>
            <a:pPr algn="ctr"/>
            <a:endParaRPr lang="hu-HU" dirty="0"/>
          </a:p>
        </p:txBody>
      </p:sp>
      <p:sp>
        <p:nvSpPr>
          <p:cNvPr id="24" name="Rectangle 23">
            <a:extLst>
              <a:ext uri="{FF2B5EF4-FFF2-40B4-BE49-F238E27FC236}">
                <a16:creationId xmlns:a16="http://schemas.microsoft.com/office/drawing/2014/main" id="{86A9B07D-B290-79CB-4BAF-A619EC1BCF9B}"/>
              </a:ext>
            </a:extLst>
          </p:cNvPr>
          <p:cNvSpPr/>
          <p:nvPr/>
        </p:nvSpPr>
        <p:spPr>
          <a:xfrm>
            <a:off x="4650761" y="4146550"/>
            <a:ext cx="2286000" cy="2286000"/>
          </a:xfrm>
          <a:prstGeom prst="rect">
            <a:avLst/>
          </a:prstGeom>
          <a:solidFill>
            <a:srgbClr val="ECA2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solidFill>
                  <a:schemeClr val="tx2"/>
                </a:solidFill>
              </a:rPr>
              <a:t>Teljeskörűen kiszolgálják az ipar felhasználói igényeket</a:t>
            </a:r>
          </a:p>
        </p:txBody>
      </p:sp>
      <p:sp>
        <p:nvSpPr>
          <p:cNvPr id="25" name="Rectangle 24">
            <a:extLst>
              <a:ext uri="{FF2B5EF4-FFF2-40B4-BE49-F238E27FC236}">
                <a16:creationId xmlns:a16="http://schemas.microsoft.com/office/drawing/2014/main" id="{8F37DFD1-FC5F-00BF-778E-B537DBC8AE21}"/>
              </a:ext>
            </a:extLst>
          </p:cNvPr>
          <p:cNvSpPr/>
          <p:nvPr/>
        </p:nvSpPr>
        <p:spPr>
          <a:xfrm>
            <a:off x="6936761" y="1882519"/>
            <a:ext cx="2286000" cy="2286000"/>
          </a:xfrm>
          <a:prstGeom prst="rect">
            <a:avLst/>
          </a:prstGeom>
          <a:solidFill>
            <a:srgbClr val="ECA2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solidFill>
                  <a:schemeClr val="tx2"/>
                </a:solidFill>
              </a:rPr>
              <a:t>Bizonyos </a:t>
            </a:r>
            <a:r>
              <a:rPr lang="hu-HU">
                <a:solidFill>
                  <a:schemeClr val="tx2"/>
                </a:solidFill>
              </a:rPr>
              <a:t>fokú monitoringgal</a:t>
            </a:r>
            <a:r>
              <a:rPr lang="hu-HU" dirty="0">
                <a:solidFill>
                  <a:schemeClr val="tx2"/>
                </a:solidFill>
              </a:rPr>
              <a:t> is felszereltek</a:t>
            </a:r>
          </a:p>
        </p:txBody>
      </p:sp>
      <p:sp>
        <p:nvSpPr>
          <p:cNvPr id="26" name="Rectangle 25">
            <a:extLst>
              <a:ext uri="{FF2B5EF4-FFF2-40B4-BE49-F238E27FC236}">
                <a16:creationId xmlns:a16="http://schemas.microsoft.com/office/drawing/2014/main" id="{7BF37D7D-8064-6903-B05A-17614BEB32AB}"/>
              </a:ext>
            </a:extLst>
          </p:cNvPr>
          <p:cNvSpPr/>
          <p:nvPr/>
        </p:nvSpPr>
        <p:spPr>
          <a:xfrm>
            <a:off x="9222761" y="4146550"/>
            <a:ext cx="2286000" cy="2286000"/>
          </a:xfrm>
          <a:prstGeom prst="rect">
            <a:avLst/>
          </a:prstGeom>
          <a:solidFill>
            <a:srgbClr val="ECA2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solidFill>
                  <a:schemeClr val="tx2"/>
                </a:solidFill>
              </a:rPr>
              <a:t>Hosszú az életciklusuk</a:t>
            </a:r>
            <a:r>
              <a:rPr lang="hu-HU">
                <a:solidFill>
                  <a:schemeClr val="tx2"/>
                </a:solidFill>
              </a:rPr>
              <a:t>, költséghatékonyak</a:t>
            </a:r>
            <a:endParaRPr lang="hu-HU" dirty="0">
              <a:solidFill>
                <a:schemeClr val="tx2"/>
              </a:solidFill>
            </a:endParaRPr>
          </a:p>
        </p:txBody>
      </p:sp>
      <p:pic>
        <p:nvPicPr>
          <p:cNvPr id="3" name="Picture 2" descr="A picture containing electric blue, text, majorelle blue, blue">
            <a:extLst>
              <a:ext uri="{FF2B5EF4-FFF2-40B4-BE49-F238E27FC236}">
                <a16:creationId xmlns:a16="http://schemas.microsoft.com/office/drawing/2014/main" id="{CF8BA5D4-DF7F-BE98-9792-B8AA1F66C9AA}"/>
              </a:ext>
            </a:extLst>
          </p:cNvPr>
          <p:cNvPicPr>
            <a:picLocks noChangeAspect="1"/>
          </p:cNvPicPr>
          <p:nvPr/>
        </p:nvPicPr>
        <p:blipFill>
          <a:blip r:embed="rId3"/>
          <a:stretch>
            <a:fillRect/>
          </a:stretch>
        </p:blipFill>
        <p:spPr>
          <a:xfrm>
            <a:off x="6299" y="1"/>
            <a:ext cx="12185701" cy="1579418"/>
          </a:xfrm>
          <a:prstGeom prst="rect">
            <a:avLst/>
          </a:prstGeom>
        </p:spPr>
      </p:pic>
      <p:pic>
        <p:nvPicPr>
          <p:cNvPr id="4" name="Picture 3" descr="A képen szöveg, clipart látható&#10;&#10;Automatikusan generált leírás">
            <a:extLst>
              <a:ext uri="{FF2B5EF4-FFF2-40B4-BE49-F238E27FC236}">
                <a16:creationId xmlns:a16="http://schemas.microsoft.com/office/drawing/2014/main" id="{3093252D-4A73-F79A-91F1-92A3360E83A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15600" y="1828800"/>
            <a:ext cx="1499235" cy="279400"/>
          </a:xfrm>
          <a:prstGeom prst="rect">
            <a:avLst/>
          </a:prstGeom>
          <a:noFill/>
        </p:spPr>
      </p:pic>
    </p:spTree>
    <p:extLst>
      <p:ext uri="{BB962C8B-B14F-4D97-AF65-F5344CB8AC3E}">
        <p14:creationId xmlns:p14="http://schemas.microsoft.com/office/powerpoint/2010/main" val="3827897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bg/>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animBg="1"/>
      <p:bldP spid="21" grpId="0" animBg="1"/>
      <p:bldP spid="23" grpId="0" animBg="1"/>
      <p:bldP spid="24" grpId="0" animBg="1"/>
      <p:bldP spid="25" grpId="0" animBg="1"/>
      <p:bldP spid="2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9E3B40A3-1E0F-4449-9A92-A4D10B006009}"/>
              </a:ext>
            </a:extLst>
          </p:cNvPr>
          <p:cNvSpPr>
            <a:spLocks noGrp="1"/>
          </p:cNvSpPr>
          <p:nvPr>
            <p:ph type="body" sz="quarter" idx="17"/>
          </p:nvPr>
        </p:nvSpPr>
        <p:spPr>
          <a:xfrm>
            <a:off x="0" y="6489700"/>
            <a:ext cx="12192000" cy="355600"/>
          </a:xfrm>
        </p:spPr>
        <p:txBody>
          <a:bodyPr/>
          <a:lstStyle/>
          <a:p>
            <a:pPr algn="ctr"/>
            <a:r>
              <a:rPr lang="hu-HU" sz="3200" dirty="0"/>
              <a:t>Mélyebbre tekintve, van tér a fejlődésre</a:t>
            </a:r>
            <a:endParaRPr lang="de-AT" sz="3200" dirty="0"/>
          </a:p>
        </p:txBody>
      </p:sp>
      <p:sp>
        <p:nvSpPr>
          <p:cNvPr id="2" name="Foliennummernplatzhalter 1">
            <a:extLst>
              <a:ext uri="{FF2B5EF4-FFF2-40B4-BE49-F238E27FC236}">
                <a16:creationId xmlns:a16="http://schemas.microsoft.com/office/drawing/2014/main" id="{677D91F1-8EEC-4EF5-90DD-0C6770704AFC}"/>
              </a:ext>
            </a:extLst>
          </p:cNvPr>
          <p:cNvSpPr>
            <a:spLocks noGrp="1"/>
          </p:cNvSpPr>
          <p:nvPr>
            <p:ph type="sldNum" sz="quarter" idx="12"/>
          </p:nvPr>
        </p:nvSpPr>
        <p:spPr/>
        <p:txBody>
          <a:bodyPr/>
          <a:lstStyle/>
          <a:p>
            <a:fld id="{3C6863D3-0438-440B-9B18-903EFF5BE46F}" type="slidenum">
              <a:rPr lang="en-US" smtClean="0"/>
              <a:pPr/>
              <a:t>5</a:t>
            </a:fld>
            <a:endParaRPr lang="en-US" dirty="0"/>
          </a:p>
        </p:txBody>
      </p:sp>
      <p:sp>
        <p:nvSpPr>
          <p:cNvPr id="10" name="Textplatzhalter 9">
            <a:extLst>
              <a:ext uri="{FF2B5EF4-FFF2-40B4-BE49-F238E27FC236}">
                <a16:creationId xmlns:a16="http://schemas.microsoft.com/office/drawing/2014/main" id="{CE8EEE56-0F76-4ACF-BD59-97F0632865CF}"/>
              </a:ext>
            </a:extLst>
          </p:cNvPr>
          <p:cNvSpPr>
            <a:spLocks noGrp="1"/>
          </p:cNvSpPr>
          <p:nvPr>
            <p:ph type="body" sz="quarter" idx="14"/>
          </p:nvPr>
        </p:nvSpPr>
        <p:spPr>
          <a:xfrm>
            <a:off x="43768" y="1801023"/>
            <a:ext cx="5228392" cy="279400"/>
          </a:xfrm>
        </p:spPr>
        <p:txBody>
          <a:bodyPr/>
          <a:lstStyle/>
          <a:p>
            <a:r>
              <a:rPr lang="hu-HU" sz="2800" dirty="0"/>
              <a:t>Gyakori - Iparági tapasztalatok - Kontra</a:t>
            </a:r>
            <a:endParaRPr lang="de-AT" sz="2800" dirty="0"/>
          </a:p>
        </p:txBody>
      </p:sp>
      <p:sp>
        <p:nvSpPr>
          <p:cNvPr id="3" name="Rectangle 2">
            <a:extLst>
              <a:ext uri="{FF2B5EF4-FFF2-40B4-BE49-F238E27FC236}">
                <a16:creationId xmlns:a16="http://schemas.microsoft.com/office/drawing/2014/main" id="{093F1509-D6A7-FB3D-98ED-2C67F28DAB44}"/>
              </a:ext>
            </a:extLst>
          </p:cNvPr>
          <p:cNvSpPr/>
          <p:nvPr/>
        </p:nvSpPr>
        <p:spPr>
          <a:xfrm>
            <a:off x="231264" y="2354982"/>
            <a:ext cx="1828800" cy="1828800"/>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t>hálózati szeparáció nélkül integráltak az IT hálózattal</a:t>
            </a:r>
          </a:p>
        </p:txBody>
      </p:sp>
      <p:sp>
        <p:nvSpPr>
          <p:cNvPr id="4" name="Rectangle 3">
            <a:extLst>
              <a:ext uri="{FF2B5EF4-FFF2-40B4-BE49-F238E27FC236}">
                <a16:creationId xmlns:a16="http://schemas.microsoft.com/office/drawing/2014/main" id="{D1571C0F-781C-C7A5-81FE-1A005B2031E0}"/>
              </a:ext>
            </a:extLst>
          </p:cNvPr>
          <p:cNvSpPr/>
          <p:nvPr/>
        </p:nvSpPr>
        <p:spPr>
          <a:xfrm>
            <a:off x="829164" y="3920257"/>
            <a:ext cx="2587752" cy="1828800"/>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t>A végpontok száma nem pontosan ismert, esetlegesen van manuális </a:t>
            </a:r>
            <a:r>
              <a:rPr lang="hu-HU" dirty="0" err="1"/>
              <a:t>asset</a:t>
            </a:r>
            <a:r>
              <a:rPr lang="hu-HU" dirty="0"/>
              <a:t> menedzsment</a:t>
            </a:r>
          </a:p>
        </p:txBody>
      </p:sp>
      <p:sp>
        <p:nvSpPr>
          <p:cNvPr id="7" name="Rectangle 6">
            <a:extLst>
              <a:ext uri="{FF2B5EF4-FFF2-40B4-BE49-F238E27FC236}">
                <a16:creationId xmlns:a16="http://schemas.microsoft.com/office/drawing/2014/main" id="{53C977D7-664F-01C9-5BA8-ED5ADE11A46F}"/>
              </a:ext>
            </a:extLst>
          </p:cNvPr>
          <p:cNvSpPr/>
          <p:nvPr/>
        </p:nvSpPr>
        <p:spPr>
          <a:xfrm>
            <a:off x="2657964" y="2047007"/>
            <a:ext cx="2273120" cy="2082800"/>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t>A végpontok forgalmai nem ismertek, nem monitorozottak és nem felügyeltek</a:t>
            </a:r>
          </a:p>
        </p:txBody>
      </p:sp>
      <p:sp>
        <p:nvSpPr>
          <p:cNvPr id="8" name="Rectangle 7">
            <a:extLst>
              <a:ext uri="{FF2B5EF4-FFF2-40B4-BE49-F238E27FC236}">
                <a16:creationId xmlns:a16="http://schemas.microsoft.com/office/drawing/2014/main" id="{FAE856C0-26EC-7212-A625-2FAF74C61FC1}"/>
              </a:ext>
            </a:extLst>
          </p:cNvPr>
          <p:cNvSpPr/>
          <p:nvPr/>
        </p:nvSpPr>
        <p:spPr>
          <a:xfrm>
            <a:off x="3265401" y="4006391"/>
            <a:ext cx="1828800" cy="1828800"/>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t>A rendszerek software frissítése az éves tervezett karbantartáskor kerül elvégzésre</a:t>
            </a:r>
          </a:p>
        </p:txBody>
      </p:sp>
      <p:sp>
        <p:nvSpPr>
          <p:cNvPr id="14" name="Rectangle 13">
            <a:extLst>
              <a:ext uri="{FF2B5EF4-FFF2-40B4-BE49-F238E27FC236}">
                <a16:creationId xmlns:a16="http://schemas.microsoft.com/office/drawing/2014/main" id="{A651BAA2-BF38-A7EC-C37B-5F7CA32FA3D2}"/>
              </a:ext>
            </a:extLst>
          </p:cNvPr>
          <p:cNvSpPr/>
          <p:nvPr/>
        </p:nvSpPr>
        <p:spPr>
          <a:xfrm>
            <a:off x="4884681" y="2500623"/>
            <a:ext cx="2258652" cy="1828800"/>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t>A felhasználók több esetben közös felhasználónevet és jelszót használnak</a:t>
            </a:r>
          </a:p>
        </p:txBody>
      </p:sp>
      <p:sp>
        <p:nvSpPr>
          <p:cNvPr id="15" name="Rectangle 14">
            <a:extLst>
              <a:ext uri="{FF2B5EF4-FFF2-40B4-BE49-F238E27FC236}">
                <a16:creationId xmlns:a16="http://schemas.microsoft.com/office/drawing/2014/main" id="{BFE54554-6423-88F5-0AE4-EE9244395953}"/>
              </a:ext>
            </a:extLst>
          </p:cNvPr>
          <p:cNvSpPr/>
          <p:nvPr/>
        </p:nvSpPr>
        <p:spPr>
          <a:xfrm>
            <a:off x="6986016" y="1615207"/>
            <a:ext cx="2273119" cy="2393950"/>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t>Az access control nem megoldott, gyakran előfordul Internetre kötött Remote Desktop elérés is</a:t>
            </a:r>
          </a:p>
          <a:p>
            <a:pPr algn="ctr"/>
            <a:r>
              <a:rPr lang="hu-HU" dirty="0"/>
              <a:t>Shodan.io</a:t>
            </a:r>
          </a:p>
        </p:txBody>
      </p:sp>
      <p:sp>
        <p:nvSpPr>
          <p:cNvPr id="16" name="Rectangle 15">
            <a:extLst>
              <a:ext uri="{FF2B5EF4-FFF2-40B4-BE49-F238E27FC236}">
                <a16:creationId xmlns:a16="http://schemas.microsoft.com/office/drawing/2014/main" id="{892B79A1-956C-A972-7004-8F182993E4A4}"/>
              </a:ext>
            </a:extLst>
          </p:cNvPr>
          <p:cNvSpPr/>
          <p:nvPr/>
        </p:nvSpPr>
        <p:spPr>
          <a:xfrm>
            <a:off x="5165950" y="4111781"/>
            <a:ext cx="2954795" cy="1828800"/>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hu-HU" dirty="0"/>
              <a:t>A menedzsment és monitoring rendszereik nem támogatott OS-en (</a:t>
            </a:r>
            <a:r>
              <a:rPr lang="hu-HU" dirty="0" err="1"/>
              <a:t>WinXP</a:t>
            </a:r>
            <a:r>
              <a:rPr lang="hu-HU" dirty="0"/>
              <a:t>; Win7) futnak</a:t>
            </a:r>
          </a:p>
        </p:txBody>
      </p:sp>
      <p:sp>
        <p:nvSpPr>
          <p:cNvPr id="17" name="Rectangle 16">
            <a:extLst>
              <a:ext uri="{FF2B5EF4-FFF2-40B4-BE49-F238E27FC236}">
                <a16:creationId xmlns:a16="http://schemas.microsoft.com/office/drawing/2014/main" id="{D83175EB-58DF-2E92-1EE5-9CA199445C12}"/>
              </a:ext>
            </a:extLst>
          </p:cNvPr>
          <p:cNvSpPr/>
          <p:nvPr/>
        </p:nvSpPr>
        <p:spPr>
          <a:xfrm>
            <a:off x="8959830" y="2960383"/>
            <a:ext cx="2518918" cy="1828800"/>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hu-HU" dirty="0"/>
              <a:t>A rendszerek OS, alkalmazás, adatbázis mentései nem megoldottak</a:t>
            </a:r>
          </a:p>
        </p:txBody>
      </p:sp>
      <p:sp>
        <p:nvSpPr>
          <p:cNvPr id="18" name="Rectangle 17">
            <a:extLst>
              <a:ext uri="{FF2B5EF4-FFF2-40B4-BE49-F238E27FC236}">
                <a16:creationId xmlns:a16="http://schemas.microsoft.com/office/drawing/2014/main" id="{CDEC277C-4113-B30A-DAC1-E060E54A4AF9}"/>
              </a:ext>
            </a:extLst>
          </p:cNvPr>
          <p:cNvSpPr/>
          <p:nvPr/>
        </p:nvSpPr>
        <p:spPr>
          <a:xfrm>
            <a:off x="8101006" y="4631590"/>
            <a:ext cx="2954795" cy="1828800"/>
          </a:xfrm>
          <a:prstGeom prst="rect">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hu-HU" dirty="0"/>
              <a:t>Az OT/ICS rendszerekre nem léteznek frissen tartott, ellenőrzött, begyakorolt DRP tervek</a:t>
            </a:r>
          </a:p>
        </p:txBody>
      </p:sp>
      <p:sp>
        <p:nvSpPr>
          <p:cNvPr id="5" name="TextBox 4">
            <a:extLst>
              <a:ext uri="{FF2B5EF4-FFF2-40B4-BE49-F238E27FC236}">
                <a16:creationId xmlns:a16="http://schemas.microsoft.com/office/drawing/2014/main" id="{ECDCEC01-DD92-05DA-EC88-2A6DA589F24D}"/>
              </a:ext>
            </a:extLst>
          </p:cNvPr>
          <p:cNvSpPr txBox="1"/>
          <p:nvPr/>
        </p:nvSpPr>
        <p:spPr>
          <a:xfrm>
            <a:off x="9138982" y="1691619"/>
            <a:ext cx="3009250" cy="646331"/>
          </a:xfrm>
          <a:prstGeom prst="rect">
            <a:avLst/>
          </a:prstGeom>
          <a:solidFill>
            <a:schemeClr val="bg1"/>
          </a:solidFill>
        </p:spPr>
        <p:txBody>
          <a:bodyPr wrap="square" rtlCol="0">
            <a:spAutoFit/>
          </a:bodyPr>
          <a:lstStyle/>
          <a:p>
            <a:r>
              <a:rPr lang="hu-HU" dirty="0"/>
              <a:t>Adatvédelmi incidens átlagos észlelési ideje 2022-ben: </a:t>
            </a:r>
          </a:p>
        </p:txBody>
      </p:sp>
      <p:sp>
        <p:nvSpPr>
          <p:cNvPr id="22" name="TextBox 21">
            <a:extLst>
              <a:ext uri="{FF2B5EF4-FFF2-40B4-BE49-F238E27FC236}">
                <a16:creationId xmlns:a16="http://schemas.microsoft.com/office/drawing/2014/main" id="{D680B48E-33AB-DBFE-6249-82BF2D846E86}"/>
              </a:ext>
            </a:extLst>
          </p:cNvPr>
          <p:cNvSpPr txBox="1"/>
          <p:nvPr/>
        </p:nvSpPr>
        <p:spPr>
          <a:xfrm>
            <a:off x="9793071" y="2156544"/>
            <a:ext cx="2167665" cy="646331"/>
          </a:xfrm>
          <a:prstGeom prst="rect">
            <a:avLst/>
          </a:prstGeom>
          <a:noFill/>
        </p:spPr>
        <p:txBody>
          <a:bodyPr wrap="square" rtlCol="0">
            <a:spAutoFit/>
          </a:bodyPr>
          <a:lstStyle/>
          <a:p>
            <a:r>
              <a:rPr lang="hu-HU" sz="3600" b="1" dirty="0">
                <a:solidFill>
                  <a:srgbClr val="FF0000"/>
                </a:solidFill>
              </a:rPr>
              <a:t>277 nap</a:t>
            </a:r>
          </a:p>
        </p:txBody>
      </p:sp>
      <p:sp>
        <p:nvSpPr>
          <p:cNvPr id="6" name="TextBox 5">
            <a:extLst>
              <a:ext uri="{FF2B5EF4-FFF2-40B4-BE49-F238E27FC236}">
                <a16:creationId xmlns:a16="http://schemas.microsoft.com/office/drawing/2014/main" id="{0545DEB2-C508-0295-0D0D-F6DB93FDFC5F}"/>
              </a:ext>
            </a:extLst>
          </p:cNvPr>
          <p:cNvSpPr txBox="1"/>
          <p:nvPr/>
        </p:nvSpPr>
        <p:spPr>
          <a:xfrm>
            <a:off x="92981" y="5805123"/>
            <a:ext cx="3814332" cy="646331"/>
          </a:xfrm>
          <a:prstGeom prst="rect">
            <a:avLst/>
          </a:prstGeom>
          <a:solidFill>
            <a:schemeClr val="bg1"/>
          </a:solidFill>
        </p:spPr>
        <p:txBody>
          <a:bodyPr wrap="square" rtlCol="0">
            <a:spAutoFit/>
          </a:bodyPr>
          <a:lstStyle/>
          <a:p>
            <a:r>
              <a:rPr lang="hu-HU" dirty="0"/>
              <a:t>Ellopott vagy feltört hitelesítési adatok</a:t>
            </a:r>
          </a:p>
          <a:p>
            <a:r>
              <a:rPr lang="hu-HU" dirty="0"/>
              <a:t>átlagos észlelési ideje 2022-ben: </a:t>
            </a:r>
          </a:p>
        </p:txBody>
      </p:sp>
      <p:sp>
        <p:nvSpPr>
          <p:cNvPr id="13" name="TextBox 12">
            <a:extLst>
              <a:ext uri="{FF2B5EF4-FFF2-40B4-BE49-F238E27FC236}">
                <a16:creationId xmlns:a16="http://schemas.microsoft.com/office/drawing/2014/main" id="{4EDA2489-895B-8DA5-09E0-CC8491F767BA}"/>
              </a:ext>
            </a:extLst>
          </p:cNvPr>
          <p:cNvSpPr txBox="1"/>
          <p:nvPr/>
        </p:nvSpPr>
        <p:spPr>
          <a:xfrm>
            <a:off x="3794524" y="5835191"/>
            <a:ext cx="1828801" cy="646331"/>
          </a:xfrm>
          <a:prstGeom prst="rect">
            <a:avLst/>
          </a:prstGeom>
          <a:noFill/>
        </p:spPr>
        <p:txBody>
          <a:bodyPr wrap="square" rtlCol="0">
            <a:spAutoFit/>
          </a:bodyPr>
          <a:lstStyle/>
          <a:p>
            <a:r>
              <a:rPr lang="hu-HU" sz="3600" b="1" dirty="0">
                <a:solidFill>
                  <a:srgbClr val="FF0000"/>
                </a:solidFill>
              </a:rPr>
              <a:t>327 nap</a:t>
            </a:r>
          </a:p>
        </p:txBody>
      </p:sp>
      <p:pic>
        <p:nvPicPr>
          <p:cNvPr id="19" name="Picture 18" descr="A picture containing electric blue, text, majorelle blue, blue">
            <a:extLst>
              <a:ext uri="{FF2B5EF4-FFF2-40B4-BE49-F238E27FC236}">
                <a16:creationId xmlns:a16="http://schemas.microsoft.com/office/drawing/2014/main" id="{C32F764F-AFC2-7418-E249-C0C334782A51}"/>
              </a:ext>
            </a:extLst>
          </p:cNvPr>
          <p:cNvPicPr>
            <a:picLocks noChangeAspect="1"/>
          </p:cNvPicPr>
          <p:nvPr/>
        </p:nvPicPr>
        <p:blipFill>
          <a:blip r:embed="rId3"/>
          <a:stretch>
            <a:fillRect/>
          </a:stretch>
        </p:blipFill>
        <p:spPr>
          <a:xfrm>
            <a:off x="-11852" y="-9764"/>
            <a:ext cx="12185701" cy="1579418"/>
          </a:xfrm>
          <a:prstGeom prst="rect">
            <a:avLst/>
          </a:prstGeom>
        </p:spPr>
      </p:pic>
      <p:pic>
        <p:nvPicPr>
          <p:cNvPr id="11" name="Picture 10" descr="A képen szöveg, clipart látható&#10;&#10;Automatikusan generált leírás">
            <a:extLst>
              <a:ext uri="{FF2B5EF4-FFF2-40B4-BE49-F238E27FC236}">
                <a16:creationId xmlns:a16="http://schemas.microsoft.com/office/drawing/2014/main" id="{56FD3C22-BE21-6992-DCCD-7DA908F700BF}"/>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15282" y="1298432"/>
            <a:ext cx="1499235" cy="279400"/>
          </a:xfrm>
          <a:prstGeom prst="rect">
            <a:avLst/>
          </a:prstGeom>
          <a:noFill/>
        </p:spPr>
      </p:pic>
    </p:spTree>
    <p:extLst>
      <p:ext uri="{BB962C8B-B14F-4D97-AF65-F5344CB8AC3E}">
        <p14:creationId xmlns:p14="http://schemas.microsoft.com/office/powerpoint/2010/main" val="3544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13"/>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12">
                                            <p:bg/>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uiExpand="1" build="p" animBg="1"/>
      <p:bldP spid="3" grpId="0" animBg="1"/>
      <p:bldP spid="4" grpId="0" animBg="1"/>
      <p:bldP spid="7" grpId="0" animBg="1"/>
      <p:bldP spid="8" grpId="0" animBg="1"/>
      <p:bldP spid="14" grpId="0" animBg="1"/>
      <p:bldP spid="15" grpId="0" animBg="1"/>
      <p:bldP spid="16" grpId="0" animBg="1"/>
      <p:bldP spid="17" grpId="0" animBg="1"/>
      <p:bldP spid="18" grpId="0" animBg="1"/>
      <p:bldP spid="5" grpId="0" animBg="1"/>
      <p:bldP spid="22" grpId="0"/>
      <p:bldP spid="6" grpId="0" animBg="1"/>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able 14">
            <a:extLst>
              <a:ext uri="{FF2B5EF4-FFF2-40B4-BE49-F238E27FC236}">
                <a16:creationId xmlns:a16="http://schemas.microsoft.com/office/drawing/2014/main" id="{CFA29377-1487-6F1B-247A-E64D2DE7549F}"/>
              </a:ext>
            </a:extLst>
          </p:cNvPr>
          <p:cNvGraphicFramePr>
            <a:graphicFrameLocks noGrp="1"/>
          </p:cNvGraphicFramePr>
          <p:nvPr>
            <p:extLst>
              <p:ext uri="{D42A27DB-BD31-4B8C-83A1-F6EECF244321}">
                <p14:modId xmlns:p14="http://schemas.microsoft.com/office/powerpoint/2010/main" val="2350555568"/>
              </p:ext>
            </p:extLst>
          </p:nvPr>
        </p:nvGraphicFramePr>
        <p:xfrm>
          <a:off x="95250" y="1580913"/>
          <a:ext cx="11925299" cy="5046911"/>
        </p:xfrm>
        <a:graphic>
          <a:graphicData uri="http://schemas.openxmlformats.org/drawingml/2006/table">
            <a:tbl>
              <a:tblPr firstRow="1" firstCol="1" bandRow="1">
                <a:tableStyleId>{5C22544A-7EE6-4342-B048-85BDC9FD1C3A}</a:tableStyleId>
              </a:tblPr>
              <a:tblGrid>
                <a:gridCol w="2306458">
                  <a:extLst>
                    <a:ext uri="{9D8B030D-6E8A-4147-A177-3AD203B41FA5}">
                      <a16:colId xmlns:a16="http://schemas.microsoft.com/office/drawing/2014/main" val="2748943913"/>
                    </a:ext>
                  </a:extLst>
                </a:gridCol>
                <a:gridCol w="2634945">
                  <a:extLst>
                    <a:ext uri="{9D8B030D-6E8A-4147-A177-3AD203B41FA5}">
                      <a16:colId xmlns:a16="http://schemas.microsoft.com/office/drawing/2014/main" val="2884834659"/>
                    </a:ext>
                  </a:extLst>
                </a:gridCol>
                <a:gridCol w="2301764">
                  <a:extLst>
                    <a:ext uri="{9D8B030D-6E8A-4147-A177-3AD203B41FA5}">
                      <a16:colId xmlns:a16="http://schemas.microsoft.com/office/drawing/2014/main" val="2328016676"/>
                    </a:ext>
                  </a:extLst>
                </a:gridCol>
                <a:gridCol w="2686566">
                  <a:extLst>
                    <a:ext uri="{9D8B030D-6E8A-4147-A177-3AD203B41FA5}">
                      <a16:colId xmlns:a16="http://schemas.microsoft.com/office/drawing/2014/main" val="1408712196"/>
                    </a:ext>
                  </a:extLst>
                </a:gridCol>
                <a:gridCol w="1995566">
                  <a:extLst>
                    <a:ext uri="{9D8B030D-6E8A-4147-A177-3AD203B41FA5}">
                      <a16:colId xmlns:a16="http://schemas.microsoft.com/office/drawing/2014/main" val="4144939864"/>
                    </a:ext>
                  </a:extLst>
                </a:gridCol>
              </a:tblGrid>
              <a:tr h="177706">
                <a:tc>
                  <a:txBody>
                    <a:bodyPr/>
                    <a:lstStyle/>
                    <a:p>
                      <a:pPr marL="0" marR="0" algn="ctr">
                        <a:lnSpc>
                          <a:spcPct val="107000"/>
                        </a:lnSpc>
                        <a:spcBef>
                          <a:spcPts val="0"/>
                        </a:spcBef>
                        <a:spcAft>
                          <a:spcPts val="800"/>
                        </a:spcAft>
                      </a:pPr>
                      <a:r>
                        <a:rPr lang="hu-HU" sz="1600" dirty="0">
                          <a:effectLst/>
                        </a:rPr>
                        <a:t>Iparág</a:t>
                      </a:r>
                      <a:endParaRPr lang="hu-HU" sz="1600" dirty="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dirty="0">
                          <a:effectLst/>
                        </a:rPr>
                        <a:t>Szervezet</a:t>
                      </a:r>
                      <a:endParaRPr lang="hu-HU" sz="1600" dirty="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Támadási típus</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Jelenség és hatás</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Költség</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extLst>
                  <a:ext uri="{0D108BD9-81ED-4DB2-BD59-A6C34878D82A}">
                    <a16:rowId xmlns:a16="http://schemas.microsoft.com/office/drawing/2014/main" val="3400952312"/>
                  </a:ext>
                </a:extLst>
              </a:tr>
              <a:tr h="645020">
                <a:tc>
                  <a:txBody>
                    <a:bodyPr/>
                    <a:lstStyle/>
                    <a:p>
                      <a:pPr marL="0" marR="0" algn="ctr">
                        <a:lnSpc>
                          <a:spcPct val="107000"/>
                        </a:lnSpc>
                        <a:spcBef>
                          <a:spcPts val="0"/>
                        </a:spcBef>
                        <a:spcAft>
                          <a:spcPts val="800"/>
                        </a:spcAft>
                      </a:pPr>
                      <a:r>
                        <a:rPr lang="hu-HU" sz="1600" dirty="0">
                          <a:effectLst/>
                        </a:rPr>
                        <a:t>Energia/hadiipar</a:t>
                      </a:r>
                      <a:endParaRPr lang="hu-HU" sz="1600" dirty="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0"/>
                        </a:spcAft>
                      </a:pPr>
                      <a:r>
                        <a:rPr lang="hu-HU" sz="1600">
                          <a:effectLst/>
                        </a:rPr>
                        <a:t>iráni atomprogram</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Stuxnet</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Termelő eszközök fizikai tönkretétele, program visszavetése évekkel</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dirty="0">
                          <a:effectLst/>
                        </a:rPr>
                        <a:t>ismeretlen</a:t>
                      </a:r>
                      <a:endParaRPr lang="hu-HU" sz="1600" dirty="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extLst>
                  <a:ext uri="{0D108BD9-81ED-4DB2-BD59-A6C34878D82A}">
                    <a16:rowId xmlns:a16="http://schemas.microsoft.com/office/drawing/2014/main" val="2986123404"/>
                  </a:ext>
                </a:extLst>
              </a:tr>
              <a:tr h="645020">
                <a:tc>
                  <a:txBody>
                    <a:bodyPr/>
                    <a:lstStyle/>
                    <a:p>
                      <a:pPr marL="0" marR="0" algn="ctr">
                        <a:lnSpc>
                          <a:spcPct val="107000"/>
                        </a:lnSpc>
                        <a:spcBef>
                          <a:spcPts val="0"/>
                        </a:spcBef>
                        <a:spcAft>
                          <a:spcPts val="800"/>
                        </a:spcAft>
                      </a:pPr>
                      <a:r>
                        <a:rPr lang="hu-HU" sz="1600" dirty="0">
                          <a:effectLst/>
                        </a:rPr>
                        <a:t>Energia</a:t>
                      </a:r>
                      <a:endParaRPr lang="hu-HU" sz="1600" dirty="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0"/>
                        </a:spcAft>
                      </a:pPr>
                      <a:r>
                        <a:rPr lang="hu-HU" sz="1600" dirty="0" err="1">
                          <a:effectLst/>
                        </a:rPr>
                        <a:t>Ukrenergo</a:t>
                      </a:r>
                      <a:br>
                        <a:rPr lang="hu-HU" sz="1600" dirty="0">
                          <a:effectLst/>
                        </a:rPr>
                      </a:br>
                      <a:r>
                        <a:rPr lang="hu-HU" sz="1600" dirty="0">
                          <a:effectLst/>
                        </a:rPr>
                        <a:t>Villamos energiaszolgáltató</a:t>
                      </a:r>
                      <a:endParaRPr lang="hu-HU" sz="1600" dirty="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OT specifikus malware</a:t>
                      </a:r>
                      <a:br>
                        <a:rPr lang="hu-HU" sz="1600">
                          <a:effectLst/>
                        </a:rPr>
                      </a:br>
                      <a:r>
                        <a:rPr lang="hu-HU" sz="1600">
                          <a:effectLst/>
                        </a:rPr>
                        <a:t>(Crashoverride, Blackenergy)</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Kijev áramellátásának részleges kiesése</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225.000 fogyasztó áramellátás nélkül</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extLst>
                  <a:ext uri="{0D108BD9-81ED-4DB2-BD59-A6C34878D82A}">
                    <a16:rowId xmlns:a16="http://schemas.microsoft.com/office/drawing/2014/main" val="782357580"/>
                  </a:ext>
                </a:extLst>
              </a:tr>
              <a:tr h="489249">
                <a:tc>
                  <a:txBody>
                    <a:bodyPr/>
                    <a:lstStyle/>
                    <a:p>
                      <a:pPr marL="0" marR="0" algn="ctr">
                        <a:lnSpc>
                          <a:spcPct val="107000"/>
                        </a:lnSpc>
                        <a:spcBef>
                          <a:spcPts val="0"/>
                        </a:spcBef>
                        <a:spcAft>
                          <a:spcPts val="800"/>
                        </a:spcAft>
                      </a:pPr>
                      <a:r>
                        <a:rPr lang="hu-HU" sz="1600" dirty="0">
                          <a:effectLst/>
                        </a:rPr>
                        <a:t>Fémipar</a:t>
                      </a:r>
                      <a:endParaRPr lang="hu-HU" sz="1600" dirty="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0"/>
                        </a:spcAft>
                      </a:pPr>
                      <a:r>
                        <a:rPr lang="hu-HU" sz="1600" dirty="0" err="1">
                          <a:effectLst/>
                        </a:rPr>
                        <a:t>Norsk</a:t>
                      </a:r>
                      <a:r>
                        <a:rPr lang="hu-HU" sz="1600" dirty="0">
                          <a:effectLst/>
                        </a:rPr>
                        <a:t> </a:t>
                      </a:r>
                      <a:r>
                        <a:rPr lang="hu-HU" sz="1600" dirty="0" err="1">
                          <a:effectLst/>
                        </a:rPr>
                        <a:t>Hydro</a:t>
                      </a:r>
                      <a:endParaRPr lang="hu-HU" sz="1600" dirty="0">
                        <a:effectLst/>
                      </a:endParaRPr>
                    </a:p>
                  </a:txBody>
                  <a:tcPr marL="54586" marR="54586" marT="28809" marB="0" anchor="ctr"/>
                </a:tc>
                <a:tc>
                  <a:txBody>
                    <a:bodyPr/>
                    <a:lstStyle/>
                    <a:p>
                      <a:pPr marL="0" marR="0" algn="ctr">
                        <a:lnSpc>
                          <a:spcPct val="107000"/>
                        </a:lnSpc>
                        <a:spcBef>
                          <a:spcPts val="0"/>
                        </a:spcBef>
                        <a:spcAft>
                          <a:spcPts val="0"/>
                        </a:spcAft>
                      </a:pPr>
                      <a:r>
                        <a:rPr lang="hu-HU" sz="1600">
                          <a:effectLst/>
                        </a:rPr>
                        <a:t>Ransomware</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Az automatizált gyártói rendszerek kiesése</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70M USD</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extLst>
                  <a:ext uri="{0D108BD9-81ED-4DB2-BD59-A6C34878D82A}">
                    <a16:rowId xmlns:a16="http://schemas.microsoft.com/office/drawing/2014/main" val="2447773526"/>
                  </a:ext>
                </a:extLst>
              </a:tr>
              <a:tr h="489249">
                <a:tc>
                  <a:txBody>
                    <a:bodyPr/>
                    <a:lstStyle/>
                    <a:p>
                      <a:pPr marL="0" marR="0" algn="ctr">
                        <a:lnSpc>
                          <a:spcPct val="107000"/>
                        </a:lnSpc>
                        <a:spcBef>
                          <a:spcPts val="0"/>
                        </a:spcBef>
                        <a:spcAft>
                          <a:spcPts val="800"/>
                        </a:spcAft>
                      </a:pPr>
                      <a:r>
                        <a:rPr lang="hu-HU" sz="1600" dirty="0">
                          <a:effectLst/>
                        </a:rPr>
                        <a:t>Szállítmányozás</a:t>
                      </a:r>
                      <a:endParaRPr lang="hu-HU" sz="1600" dirty="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Fedex</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Ransomware, NotPetya</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IT üzemeltetési kiesés, szállítási és értékesítési kieséssel</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300M USD</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extLst>
                  <a:ext uri="{0D108BD9-81ED-4DB2-BD59-A6C34878D82A}">
                    <a16:rowId xmlns:a16="http://schemas.microsoft.com/office/drawing/2014/main" val="4211242806"/>
                  </a:ext>
                </a:extLst>
              </a:tr>
              <a:tr h="800791">
                <a:tc>
                  <a:txBody>
                    <a:bodyPr/>
                    <a:lstStyle/>
                    <a:p>
                      <a:pPr marL="0" marR="0" algn="ctr">
                        <a:lnSpc>
                          <a:spcPct val="107000"/>
                        </a:lnSpc>
                        <a:spcBef>
                          <a:spcPts val="0"/>
                        </a:spcBef>
                        <a:spcAft>
                          <a:spcPts val="800"/>
                        </a:spcAft>
                      </a:pPr>
                      <a:r>
                        <a:rPr lang="hu-HU" sz="1600" dirty="0">
                          <a:effectLst/>
                        </a:rPr>
                        <a:t>Olajipar</a:t>
                      </a:r>
                      <a:endParaRPr lang="hu-HU" sz="1600" dirty="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dirty="0" err="1">
                          <a:effectLst/>
                        </a:rPr>
                        <a:t>Colonial</a:t>
                      </a:r>
                      <a:r>
                        <a:rPr lang="hu-HU" sz="1600" dirty="0">
                          <a:effectLst/>
                        </a:rPr>
                        <a:t> </a:t>
                      </a:r>
                      <a:r>
                        <a:rPr lang="hu-HU" sz="1600" dirty="0" err="1">
                          <a:effectLst/>
                        </a:rPr>
                        <a:t>Pipeline</a:t>
                      </a:r>
                      <a:endParaRPr lang="hu-HU" sz="1600" dirty="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Ransomware</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Üzemanyagellátási problémák 6 napon keresztül az USA nyugati partján és a repülőtereken</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4.4M USD váltságdíj és egyéb kereskedelmi károk</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extLst>
                  <a:ext uri="{0D108BD9-81ED-4DB2-BD59-A6C34878D82A}">
                    <a16:rowId xmlns:a16="http://schemas.microsoft.com/office/drawing/2014/main" val="1796670776"/>
                  </a:ext>
                </a:extLst>
              </a:tr>
              <a:tr h="333478">
                <a:tc>
                  <a:txBody>
                    <a:bodyPr/>
                    <a:lstStyle/>
                    <a:p>
                      <a:pPr marL="0" marR="0" algn="ctr">
                        <a:lnSpc>
                          <a:spcPct val="107000"/>
                        </a:lnSpc>
                        <a:spcBef>
                          <a:spcPts val="0"/>
                        </a:spcBef>
                        <a:spcAft>
                          <a:spcPts val="800"/>
                        </a:spcAft>
                      </a:pPr>
                      <a:r>
                        <a:rPr lang="hu-HU" sz="1600" dirty="0">
                          <a:effectLst/>
                        </a:rPr>
                        <a:t>Gyógyszeripar</a:t>
                      </a:r>
                      <a:endParaRPr lang="hu-HU" sz="1600" dirty="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Merck</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Ransomware, NotPetya</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Gyártás és értékesítés leállítás</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670M USD</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extLst>
                  <a:ext uri="{0D108BD9-81ED-4DB2-BD59-A6C34878D82A}">
                    <a16:rowId xmlns:a16="http://schemas.microsoft.com/office/drawing/2014/main" val="655787739"/>
                  </a:ext>
                </a:extLst>
              </a:tr>
              <a:tr h="956562">
                <a:tc>
                  <a:txBody>
                    <a:bodyPr/>
                    <a:lstStyle/>
                    <a:p>
                      <a:pPr marL="0" marR="0" algn="ctr">
                        <a:lnSpc>
                          <a:spcPct val="107000"/>
                        </a:lnSpc>
                        <a:spcBef>
                          <a:spcPts val="0"/>
                        </a:spcBef>
                        <a:spcAft>
                          <a:spcPts val="800"/>
                        </a:spcAft>
                      </a:pPr>
                      <a:r>
                        <a:rPr lang="hu-HU" sz="1600" dirty="0">
                          <a:effectLst/>
                        </a:rPr>
                        <a:t>Szállítmányozás és Logisztika</a:t>
                      </a:r>
                      <a:endParaRPr lang="hu-HU" sz="1600" dirty="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dirty="0">
                          <a:effectLst/>
                        </a:rPr>
                        <a:t>A.P. </a:t>
                      </a:r>
                      <a:r>
                        <a:rPr lang="hu-HU" sz="1600" dirty="0" err="1">
                          <a:effectLst/>
                        </a:rPr>
                        <a:t>Moller</a:t>
                      </a:r>
                      <a:r>
                        <a:rPr lang="hu-HU" sz="1600" dirty="0">
                          <a:effectLst/>
                        </a:rPr>
                        <a:t> </a:t>
                      </a:r>
                      <a:r>
                        <a:rPr lang="hu-HU" sz="1600" dirty="0" err="1">
                          <a:effectLst/>
                        </a:rPr>
                        <a:t>Maersk</a:t>
                      </a:r>
                      <a:endParaRPr lang="hu-HU" sz="1600" dirty="0">
                        <a:effectLst/>
                      </a:endParaRPr>
                    </a:p>
                  </a:txBody>
                  <a:tcPr marL="54586" marR="54586" marT="28809" marB="0" anchor="ctr"/>
                </a:tc>
                <a:tc>
                  <a:txBody>
                    <a:bodyPr/>
                    <a:lstStyle/>
                    <a:p>
                      <a:pPr marL="0" marR="0" algn="ctr">
                        <a:lnSpc>
                          <a:spcPct val="107000"/>
                        </a:lnSpc>
                        <a:spcBef>
                          <a:spcPts val="0"/>
                        </a:spcBef>
                        <a:spcAft>
                          <a:spcPts val="800"/>
                        </a:spcAft>
                      </a:pPr>
                      <a:r>
                        <a:rPr lang="hu-HU" sz="1600">
                          <a:effectLst/>
                        </a:rPr>
                        <a:t>Ransomware, NotPetya</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a:effectLst/>
                        </a:rPr>
                        <a:t>A működés 2 hetes leállása az informatikai rendszerekhez történő hozzáférés hiánya miatt</a:t>
                      </a:r>
                      <a:endParaRPr lang="hu-HU" sz="160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tc>
                  <a:txBody>
                    <a:bodyPr/>
                    <a:lstStyle/>
                    <a:p>
                      <a:pPr marL="0" marR="0" algn="ctr">
                        <a:lnSpc>
                          <a:spcPct val="107000"/>
                        </a:lnSpc>
                        <a:spcBef>
                          <a:spcPts val="0"/>
                        </a:spcBef>
                        <a:spcAft>
                          <a:spcPts val="800"/>
                        </a:spcAft>
                      </a:pPr>
                      <a:r>
                        <a:rPr lang="hu-HU" sz="1600" dirty="0">
                          <a:effectLst/>
                        </a:rPr>
                        <a:t>300M USD</a:t>
                      </a:r>
                      <a:endParaRPr lang="hu-HU" sz="1600" dirty="0">
                        <a:solidFill>
                          <a:srgbClr val="58585A"/>
                        </a:solidFill>
                        <a:effectLst/>
                        <a:latin typeface="Calibri" panose="020F0502020204030204" pitchFamily="34" charset="0"/>
                        <a:ea typeface="Calibri" panose="020F0502020204030204" pitchFamily="34" charset="0"/>
                        <a:cs typeface="Times New Roman" panose="02020603050405020304" pitchFamily="18" charset="0"/>
                      </a:endParaRPr>
                    </a:p>
                  </a:txBody>
                  <a:tcPr marL="54586" marR="54586" marT="28809" marB="0" anchor="ctr"/>
                </a:tc>
                <a:extLst>
                  <a:ext uri="{0D108BD9-81ED-4DB2-BD59-A6C34878D82A}">
                    <a16:rowId xmlns:a16="http://schemas.microsoft.com/office/drawing/2014/main" val="2039072120"/>
                  </a:ext>
                </a:extLst>
              </a:tr>
            </a:tbl>
          </a:graphicData>
        </a:graphic>
      </p:graphicFrame>
      <p:sp>
        <p:nvSpPr>
          <p:cNvPr id="2" name="Foliennummernplatzhalter 1">
            <a:extLst>
              <a:ext uri="{FF2B5EF4-FFF2-40B4-BE49-F238E27FC236}">
                <a16:creationId xmlns:a16="http://schemas.microsoft.com/office/drawing/2014/main" id="{677D91F1-8EEC-4EF5-90DD-0C6770704AFC}"/>
              </a:ext>
            </a:extLst>
          </p:cNvPr>
          <p:cNvSpPr>
            <a:spLocks noGrp="1"/>
          </p:cNvSpPr>
          <p:nvPr>
            <p:ph type="sldNum" sz="quarter" idx="12"/>
          </p:nvPr>
        </p:nvSpPr>
        <p:spPr/>
        <p:txBody>
          <a:bodyPr/>
          <a:lstStyle/>
          <a:p>
            <a:fld id="{3C6863D3-0438-440B-9B18-903EFF5BE46F}" type="slidenum">
              <a:rPr lang="en-US" smtClean="0"/>
              <a:pPr/>
              <a:t>6</a:t>
            </a:fld>
            <a:endParaRPr lang="en-US" dirty="0"/>
          </a:p>
        </p:txBody>
      </p:sp>
      <p:sp>
        <p:nvSpPr>
          <p:cNvPr id="11" name="Textplatzhalter 10">
            <a:extLst>
              <a:ext uri="{FF2B5EF4-FFF2-40B4-BE49-F238E27FC236}">
                <a16:creationId xmlns:a16="http://schemas.microsoft.com/office/drawing/2014/main" id="{A92BA684-D246-48A1-AC71-28A918CA5F04}"/>
              </a:ext>
            </a:extLst>
          </p:cNvPr>
          <p:cNvSpPr>
            <a:spLocks noGrp="1"/>
          </p:cNvSpPr>
          <p:nvPr>
            <p:ph type="body" sz="quarter" idx="15"/>
          </p:nvPr>
        </p:nvSpPr>
        <p:spPr/>
        <p:txBody>
          <a:bodyPr/>
          <a:lstStyle/>
          <a:p>
            <a:endParaRPr lang="de-AT"/>
          </a:p>
        </p:txBody>
      </p:sp>
      <p:pic>
        <p:nvPicPr>
          <p:cNvPr id="5" name="Picture 4" descr="A picture containing electric blue, text, majorelle blue, blue">
            <a:extLst>
              <a:ext uri="{FF2B5EF4-FFF2-40B4-BE49-F238E27FC236}">
                <a16:creationId xmlns:a16="http://schemas.microsoft.com/office/drawing/2014/main" id="{25641D0E-D1FB-BFC2-F5BD-D2C6F0698738}"/>
              </a:ext>
            </a:extLst>
          </p:cNvPr>
          <p:cNvPicPr>
            <a:picLocks noChangeAspect="1"/>
          </p:cNvPicPr>
          <p:nvPr/>
        </p:nvPicPr>
        <p:blipFill>
          <a:blip r:embed="rId3"/>
          <a:stretch>
            <a:fillRect/>
          </a:stretch>
        </p:blipFill>
        <p:spPr>
          <a:xfrm>
            <a:off x="6299" y="1495"/>
            <a:ext cx="12185701" cy="1579418"/>
          </a:xfrm>
          <a:prstGeom prst="rect">
            <a:avLst/>
          </a:prstGeom>
        </p:spPr>
      </p:pic>
      <p:sp>
        <p:nvSpPr>
          <p:cNvPr id="7" name="Text Placeholder 6">
            <a:extLst>
              <a:ext uri="{FF2B5EF4-FFF2-40B4-BE49-F238E27FC236}">
                <a16:creationId xmlns:a16="http://schemas.microsoft.com/office/drawing/2014/main" id="{4AD00348-D2FF-9D6C-6440-9DBC31E3D057}"/>
              </a:ext>
            </a:extLst>
          </p:cNvPr>
          <p:cNvSpPr>
            <a:spLocks noGrp="1"/>
          </p:cNvSpPr>
          <p:nvPr>
            <p:ph type="body" sz="quarter" idx="14"/>
          </p:nvPr>
        </p:nvSpPr>
        <p:spPr>
          <a:xfrm>
            <a:off x="189302" y="1299836"/>
            <a:ext cx="9359900" cy="279400"/>
          </a:xfrm>
        </p:spPr>
        <p:txBody>
          <a:bodyPr/>
          <a:lstStyle/>
          <a:p>
            <a:r>
              <a:rPr lang="hu-HU" dirty="0">
                <a:solidFill>
                  <a:schemeClr val="bg1"/>
                </a:solidFill>
              </a:rPr>
              <a:t>Publikált </a:t>
            </a:r>
            <a:r>
              <a:rPr lang="hu-HU">
                <a:solidFill>
                  <a:schemeClr val="bg1"/>
                </a:solidFill>
              </a:rPr>
              <a:t>és kielemzett esetek</a:t>
            </a:r>
            <a:endParaRPr lang="hu-HU" dirty="0">
              <a:solidFill>
                <a:schemeClr val="bg1"/>
              </a:solidFill>
            </a:endParaRPr>
          </a:p>
        </p:txBody>
      </p:sp>
    </p:spTree>
    <p:extLst>
      <p:ext uri="{BB962C8B-B14F-4D97-AF65-F5344CB8AC3E}">
        <p14:creationId xmlns:p14="http://schemas.microsoft.com/office/powerpoint/2010/main" val="382318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31EDC3-CDED-79A1-BB0A-1D5A24D5512E}"/>
              </a:ext>
            </a:extLst>
          </p:cNvPr>
          <p:cNvSpPr>
            <a:spLocks noGrp="1"/>
          </p:cNvSpPr>
          <p:nvPr>
            <p:ph type="sldNum" sz="quarter" idx="12"/>
          </p:nvPr>
        </p:nvSpPr>
        <p:spPr/>
        <p:txBody>
          <a:bodyPr/>
          <a:lstStyle/>
          <a:p>
            <a:fld id="{3C6863D3-0438-440B-9B18-903EFF5BE46F}" type="slidenum">
              <a:rPr lang="en-US" smtClean="0"/>
              <a:pPr/>
              <a:t>7</a:t>
            </a:fld>
            <a:endParaRPr lang="en-US" dirty="0"/>
          </a:p>
        </p:txBody>
      </p:sp>
      <p:sp>
        <p:nvSpPr>
          <p:cNvPr id="3" name="Text Placeholder 2">
            <a:extLst>
              <a:ext uri="{FF2B5EF4-FFF2-40B4-BE49-F238E27FC236}">
                <a16:creationId xmlns:a16="http://schemas.microsoft.com/office/drawing/2014/main" id="{B9F0F320-0EED-0575-57E7-343C32D71CA7}"/>
              </a:ext>
            </a:extLst>
          </p:cNvPr>
          <p:cNvSpPr>
            <a:spLocks noGrp="1"/>
          </p:cNvSpPr>
          <p:nvPr>
            <p:ph type="body" sz="quarter" idx="15"/>
          </p:nvPr>
        </p:nvSpPr>
        <p:spPr/>
        <p:txBody>
          <a:bodyPr/>
          <a:lstStyle/>
          <a:p>
            <a:endParaRPr lang="hu-HU"/>
          </a:p>
        </p:txBody>
      </p:sp>
      <p:sp>
        <p:nvSpPr>
          <p:cNvPr id="4" name="Content Placeholder 3">
            <a:extLst>
              <a:ext uri="{FF2B5EF4-FFF2-40B4-BE49-F238E27FC236}">
                <a16:creationId xmlns:a16="http://schemas.microsoft.com/office/drawing/2014/main" id="{F3CC4D12-D26A-7D1B-04BB-422D9483B7F0}"/>
              </a:ext>
            </a:extLst>
          </p:cNvPr>
          <p:cNvSpPr>
            <a:spLocks noGrp="1"/>
          </p:cNvSpPr>
          <p:nvPr>
            <p:ph sz="quarter" idx="16"/>
          </p:nvPr>
        </p:nvSpPr>
        <p:spPr>
          <a:xfrm>
            <a:off x="482600" y="1619013"/>
            <a:ext cx="11226800" cy="4756387"/>
          </a:xfrm>
        </p:spPr>
        <p:txBody>
          <a:bodyPr>
            <a:normAutofit/>
          </a:bodyPr>
          <a:lstStyle/>
          <a:p>
            <a:pPr marL="0" indent="0">
              <a:buNone/>
            </a:pPr>
            <a:r>
              <a:rPr lang="hu-HU" sz="3200" b="1" u="sng" dirty="0"/>
              <a:t>Esettanulmány</a:t>
            </a:r>
          </a:p>
          <a:p>
            <a:r>
              <a:rPr lang="hu-HU" sz="2800" dirty="0"/>
              <a:t>Élelmiszer ipari vállalat magyarországi gyáregységgel</a:t>
            </a:r>
          </a:p>
          <a:p>
            <a:r>
              <a:rPr lang="hu-HU" sz="2800" dirty="0"/>
              <a:t>A gyáregységben irodai környezet is ki van alakítva</a:t>
            </a:r>
          </a:p>
          <a:p>
            <a:r>
              <a:rPr lang="hu-HU" sz="2800" dirty="0"/>
              <a:t>Két, szeparáltan működő gyártási környezet van telepítve</a:t>
            </a:r>
          </a:p>
          <a:p>
            <a:r>
              <a:rPr lang="hu-HU" sz="2800" dirty="0"/>
              <a:t>Mindkét gyártási környezet elérhető </a:t>
            </a:r>
          </a:p>
          <a:p>
            <a:pPr lvl="1"/>
            <a:r>
              <a:rPr lang="hu-HU" sz="2600" dirty="0"/>
              <a:t>az irodai környezetből</a:t>
            </a:r>
          </a:p>
          <a:p>
            <a:pPr lvl="1"/>
            <a:r>
              <a:rPr lang="hu-HU" sz="2600" dirty="0"/>
              <a:t>az Internet felől</a:t>
            </a:r>
          </a:p>
          <a:p>
            <a:r>
              <a:rPr lang="hu-HU" sz="2800" dirty="0"/>
              <a:t>Teljes körű adatbázis az implementált gyártási eszközökről (CMDB) nem áll rendelkezésre</a:t>
            </a:r>
          </a:p>
          <a:p>
            <a:endParaRPr lang="hu-HU" sz="2800" dirty="0"/>
          </a:p>
        </p:txBody>
      </p:sp>
      <p:sp>
        <p:nvSpPr>
          <p:cNvPr id="5" name="Text Placeholder 4">
            <a:extLst>
              <a:ext uri="{FF2B5EF4-FFF2-40B4-BE49-F238E27FC236}">
                <a16:creationId xmlns:a16="http://schemas.microsoft.com/office/drawing/2014/main" id="{44EA122D-609F-62AA-50BC-85BFD3222F42}"/>
              </a:ext>
            </a:extLst>
          </p:cNvPr>
          <p:cNvSpPr>
            <a:spLocks noGrp="1"/>
          </p:cNvSpPr>
          <p:nvPr>
            <p:ph type="body" sz="quarter" idx="14"/>
          </p:nvPr>
        </p:nvSpPr>
        <p:spPr/>
        <p:txBody>
          <a:bodyPr/>
          <a:lstStyle/>
          <a:p>
            <a:endParaRPr lang="hu-HU"/>
          </a:p>
        </p:txBody>
      </p:sp>
      <p:sp>
        <p:nvSpPr>
          <p:cNvPr id="6" name="Title 5">
            <a:extLst>
              <a:ext uri="{FF2B5EF4-FFF2-40B4-BE49-F238E27FC236}">
                <a16:creationId xmlns:a16="http://schemas.microsoft.com/office/drawing/2014/main" id="{AD0779B9-E3CF-E5C6-55E2-281207078576}"/>
              </a:ext>
            </a:extLst>
          </p:cNvPr>
          <p:cNvSpPr>
            <a:spLocks noGrp="1"/>
          </p:cNvSpPr>
          <p:nvPr>
            <p:ph type="title"/>
          </p:nvPr>
        </p:nvSpPr>
        <p:spPr/>
        <p:txBody>
          <a:bodyPr/>
          <a:lstStyle/>
          <a:p>
            <a:endParaRPr lang="hu-HU"/>
          </a:p>
        </p:txBody>
      </p:sp>
      <p:pic>
        <p:nvPicPr>
          <p:cNvPr id="7" name="Picture 6" descr="A picture containing electric blue, text, majorelle blue, blue">
            <a:extLst>
              <a:ext uri="{FF2B5EF4-FFF2-40B4-BE49-F238E27FC236}">
                <a16:creationId xmlns:a16="http://schemas.microsoft.com/office/drawing/2014/main" id="{9EE35D52-7446-48BA-2AC9-70773C45DFDD}"/>
              </a:ext>
            </a:extLst>
          </p:cNvPr>
          <p:cNvPicPr>
            <a:picLocks noChangeAspect="1"/>
          </p:cNvPicPr>
          <p:nvPr/>
        </p:nvPicPr>
        <p:blipFill>
          <a:blip r:embed="rId2"/>
          <a:stretch>
            <a:fillRect/>
          </a:stretch>
        </p:blipFill>
        <p:spPr>
          <a:xfrm>
            <a:off x="6299" y="1495"/>
            <a:ext cx="12185701" cy="1579418"/>
          </a:xfrm>
          <a:prstGeom prst="rect">
            <a:avLst/>
          </a:prstGeom>
        </p:spPr>
      </p:pic>
      <p:pic>
        <p:nvPicPr>
          <p:cNvPr id="8" name="Picture 7" descr="A képen szöveg, clipart látható&#10;&#10;Automatikusan generált leírás">
            <a:extLst>
              <a:ext uri="{FF2B5EF4-FFF2-40B4-BE49-F238E27FC236}">
                <a16:creationId xmlns:a16="http://schemas.microsoft.com/office/drawing/2014/main" id="{B0CEE4C9-413B-F3A9-7355-2D38C592DB5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515600" y="1828800"/>
            <a:ext cx="1499235" cy="279400"/>
          </a:xfrm>
          <a:prstGeom prst="rect">
            <a:avLst/>
          </a:prstGeom>
          <a:noFill/>
        </p:spPr>
      </p:pic>
    </p:spTree>
    <p:extLst>
      <p:ext uri="{BB962C8B-B14F-4D97-AF65-F5344CB8AC3E}">
        <p14:creationId xmlns:p14="http://schemas.microsoft.com/office/powerpoint/2010/main" val="574434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31EDC3-CDED-79A1-BB0A-1D5A24D5512E}"/>
              </a:ext>
            </a:extLst>
          </p:cNvPr>
          <p:cNvSpPr>
            <a:spLocks noGrp="1"/>
          </p:cNvSpPr>
          <p:nvPr>
            <p:ph type="sldNum" sz="quarter" idx="12"/>
          </p:nvPr>
        </p:nvSpPr>
        <p:spPr/>
        <p:txBody>
          <a:bodyPr/>
          <a:lstStyle/>
          <a:p>
            <a:fld id="{3C6863D3-0438-440B-9B18-903EFF5BE46F}" type="slidenum">
              <a:rPr lang="en-US" smtClean="0"/>
              <a:pPr/>
              <a:t>8</a:t>
            </a:fld>
            <a:endParaRPr lang="en-US" dirty="0"/>
          </a:p>
        </p:txBody>
      </p:sp>
      <p:sp>
        <p:nvSpPr>
          <p:cNvPr id="3" name="Text Placeholder 2">
            <a:extLst>
              <a:ext uri="{FF2B5EF4-FFF2-40B4-BE49-F238E27FC236}">
                <a16:creationId xmlns:a16="http://schemas.microsoft.com/office/drawing/2014/main" id="{B9F0F320-0EED-0575-57E7-343C32D71CA7}"/>
              </a:ext>
            </a:extLst>
          </p:cNvPr>
          <p:cNvSpPr>
            <a:spLocks noGrp="1"/>
          </p:cNvSpPr>
          <p:nvPr>
            <p:ph type="body" sz="quarter" idx="15"/>
          </p:nvPr>
        </p:nvSpPr>
        <p:spPr/>
        <p:txBody>
          <a:bodyPr/>
          <a:lstStyle/>
          <a:p>
            <a:endParaRPr lang="hu-HU"/>
          </a:p>
        </p:txBody>
      </p:sp>
      <p:sp>
        <p:nvSpPr>
          <p:cNvPr id="5" name="Text Placeholder 4">
            <a:extLst>
              <a:ext uri="{FF2B5EF4-FFF2-40B4-BE49-F238E27FC236}">
                <a16:creationId xmlns:a16="http://schemas.microsoft.com/office/drawing/2014/main" id="{44EA122D-609F-62AA-50BC-85BFD3222F42}"/>
              </a:ext>
            </a:extLst>
          </p:cNvPr>
          <p:cNvSpPr>
            <a:spLocks noGrp="1"/>
          </p:cNvSpPr>
          <p:nvPr>
            <p:ph type="body" sz="quarter" idx="14"/>
          </p:nvPr>
        </p:nvSpPr>
        <p:spPr/>
        <p:txBody>
          <a:bodyPr/>
          <a:lstStyle/>
          <a:p>
            <a:endParaRPr lang="hu-HU"/>
          </a:p>
        </p:txBody>
      </p:sp>
      <p:sp>
        <p:nvSpPr>
          <p:cNvPr id="6" name="Title 5">
            <a:extLst>
              <a:ext uri="{FF2B5EF4-FFF2-40B4-BE49-F238E27FC236}">
                <a16:creationId xmlns:a16="http://schemas.microsoft.com/office/drawing/2014/main" id="{AD0779B9-E3CF-E5C6-55E2-281207078576}"/>
              </a:ext>
            </a:extLst>
          </p:cNvPr>
          <p:cNvSpPr>
            <a:spLocks noGrp="1"/>
          </p:cNvSpPr>
          <p:nvPr>
            <p:ph type="title"/>
          </p:nvPr>
        </p:nvSpPr>
        <p:spPr/>
        <p:txBody>
          <a:bodyPr/>
          <a:lstStyle/>
          <a:p>
            <a:endParaRPr lang="hu-HU"/>
          </a:p>
        </p:txBody>
      </p:sp>
      <p:pic>
        <p:nvPicPr>
          <p:cNvPr id="7" name="Picture 6" descr="A picture containing electric blue, text, majorelle blue, blue">
            <a:extLst>
              <a:ext uri="{FF2B5EF4-FFF2-40B4-BE49-F238E27FC236}">
                <a16:creationId xmlns:a16="http://schemas.microsoft.com/office/drawing/2014/main" id="{9EE35D52-7446-48BA-2AC9-70773C45DFDD}"/>
              </a:ext>
            </a:extLst>
          </p:cNvPr>
          <p:cNvPicPr>
            <a:picLocks noChangeAspect="1"/>
          </p:cNvPicPr>
          <p:nvPr/>
        </p:nvPicPr>
        <p:blipFill>
          <a:blip r:embed="rId2"/>
          <a:stretch>
            <a:fillRect/>
          </a:stretch>
        </p:blipFill>
        <p:spPr>
          <a:xfrm>
            <a:off x="6299" y="1495"/>
            <a:ext cx="12185701" cy="1579418"/>
          </a:xfrm>
          <a:prstGeom prst="rect">
            <a:avLst/>
          </a:prstGeom>
        </p:spPr>
      </p:pic>
      <p:sp>
        <p:nvSpPr>
          <p:cNvPr id="8" name="Rectangle 7">
            <a:extLst>
              <a:ext uri="{FF2B5EF4-FFF2-40B4-BE49-F238E27FC236}">
                <a16:creationId xmlns:a16="http://schemas.microsoft.com/office/drawing/2014/main" id="{58AA3EBF-2706-2904-81BB-F0E3BBAD2170}"/>
              </a:ext>
            </a:extLst>
          </p:cNvPr>
          <p:cNvSpPr/>
          <p:nvPr/>
        </p:nvSpPr>
        <p:spPr>
          <a:xfrm>
            <a:off x="368300" y="6055350"/>
            <a:ext cx="11226800" cy="616187"/>
          </a:xfrm>
          <a:prstGeom prst="rect">
            <a:avLst/>
          </a:prstGeom>
          <a:solidFill>
            <a:srgbClr val="253D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hu-HU" sz="2400" dirty="0">
                <a:solidFill>
                  <a:schemeClr val="bg1"/>
                </a:solidFill>
              </a:rPr>
              <a:t>A jelenlegi architectúra felmérése és dokumentálása</a:t>
            </a:r>
          </a:p>
        </p:txBody>
      </p:sp>
      <p:sp>
        <p:nvSpPr>
          <p:cNvPr id="9" name="Rectangle 8">
            <a:extLst>
              <a:ext uri="{FF2B5EF4-FFF2-40B4-BE49-F238E27FC236}">
                <a16:creationId xmlns:a16="http://schemas.microsoft.com/office/drawing/2014/main" id="{820EC5EF-CE27-B8BE-C6CC-0224EDF0E8EB}"/>
              </a:ext>
            </a:extLst>
          </p:cNvPr>
          <p:cNvSpPr/>
          <p:nvPr/>
        </p:nvSpPr>
        <p:spPr>
          <a:xfrm>
            <a:off x="857250" y="5257326"/>
            <a:ext cx="10248900" cy="616187"/>
          </a:xfrm>
          <a:prstGeom prst="rect">
            <a:avLst/>
          </a:prstGeom>
          <a:solidFill>
            <a:srgbClr val="253D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hu-HU" sz="2400" dirty="0">
                <a:solidFill>
                  <a:schemeClr val="bg1"/>
                </a:solidFill>
              </a:rPr>
              <a:t>A javítandó pontok azonosítása az </a:t>
            </a:r>
            <a:r>
              <a:rPr lang="hu-HU" sz="2400" dirty="0" err="1">
                <a:solidFill>
                  <a:schemeClr val="bg1"/>
                </a:solidFill>
              </a:rPr>
              <a:t>architectúrában</a:t>
            </a:r>
            <a:endParaRPr lang="hu-HU" sz="2400" dirty="0">
              <a:solidFill>
                <a:schemeClr val="bg1"/>
              </a:solidFill>
            </a:endParaRPr>
          </a:p>
        </p:txBody>
      </p:sp>
      <p:sp>
        <p:nvSpPr>
          <p:cNvPr id="10" name="Rectangle 9">
            <a:extLst>
              <a:ext uri="{FF2B5EF4-FFF2-40B4-BE49-F238E27FC236}">
                <a16:creationId xmlns:a16="http://schemas.microsoft.com/office/drawing/2014/main" id="{9BCBBE97-76DE-121F-BC3B-314B9077822D}"/>
              </a:ext>
            </a:extLst>
          </p:cNvPr>
          <p:cNvSpPr/>
          <p:nvPr/>
        </p:nvSpPr>
        <p:spPr>
          <a:xfrm>
            <a:off x="1244600" y="4497402"/>
            <a:ext cx="9474200" cy="616187"/>
          </a:xfrm>
          <a:prstGeom prst="rect">
            <a:avLst/>
          </a:prstGeom>
          <a:solidFill>
            <a:srgbClr val="253D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hu-HU" sz="2400" dirty="0">
                <a:solidFill>
                  <a:schemeClr val="bg1"/>
                </a:solidFill>
              </a:rPr>
              <a:t>Az implementált OT eszközök meghatározása (CMDB)</a:t>
            </a:r>
          </a:p>
        </p:txBody>
      </p:sp>
      <p:sp>
        <p:nvSpPr>
          <p:cNvPr id="11" name="Rectangle 10">
            <a:extLst>
              <a:ext uri="{FF2B5EF4-FFF2-40B4-BE49-F238E27FC236}">
                <a16:creationId xmlns:a16="http://schemas.microsoft.com/office/drawing/2014/main" id="{324690FA-294E-1ABC-F331-7C48F88F9387}"/>
              </a:ext>
            </a:extLst>
          </p:cNvPr>
          <p:cNvSpPr/>
          <p:nvPr/>
        </p:nvSpPr>
        <p:spPr>
          <a:xfrm>
            <a:off x="1847850" y="3676035"/>
            <a:ext cx="8496300" cy="616187"/>
          </a:xfrm>
          <a:prstGeom prst="rect">
            <a:avLst/>
          </a:prstGeom>
          <a:solidFill>
            <a:srgbClr val="253D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hu-HU" sz="2400" dirty="0">
                <a:solidFill>
                  <a:schemeClr val="bg1"/>
                </a:solidFill>
              </a:rPr>
              <a:t>Az elvégzendő feladatok priorizálása</a:t>
            </a:r>
          </a:p>
        </p:txBody>
      </p:sp>
      <p:sp>
        <p:nvSpPr>
          <p:cNvPr id="12" name="Rectangle 11">
            <a:extLst>
              <a:ext uri="{FF2B5EF4-FFF2-40B4-BE49-F238E27FC236}">
                <a16:creationId xmlns:a16="http://schemas.microsoft.com/office/drawing/2014/main" id="{00D0F16C-6FA4-BDB4-B3F0-336121F4E389}"/>
              </a:ext>
            </a:extLst>
          </p:cNvPr>
          <p:cNvSpPr/>
          <p:nvPr/>
        </p:nvSpPr>
        <p:spPr>
          <a:xfrm>
            <a:off x="2298700" y="2854668"/>
            <a:ext cx="7594600" cy="616187"/>
          </a:xfrm>
          <a:prstGeom prst="rect">
            <a:avLst/>
          </a:prstGeom>
          <a:solidFill>
            <a:srgbClr val="253D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hu-HU" sz="2400" dirty="0">
                <a:solidFill>
                  <a:schemeClr val="bg1"/>
                </a:solidFill>
              </a:rPr>
              <a:t>A megvalósítandó architectúra megalkotása</a:t>
            </a:r>
          </a:p>
        </p:txBody>
      </p:sp>
      <p:sp>
        <p:nvSpPr>
          <p:cNvPr id="14" name="Rectangle 13">
            <a:extLst>
              <a:ext uri="{FF2B5EF4-FFF2-40B4-BE49-F238E27FC236}">
                <a16:creationId xmlns:a16="http://schemas.microsoft.com/office/drawing/2014/main" id="{29F99560-73AD-8F1F-8683-CFDB77D50F8B}"/>
              </a:ext>
            </a:extLst>
          </p:cNvPr>
          <p:cNvSpPr/>
          <p:nvPr/>
        </p:nvSpPr>
        <p:spPr>
          <a:xfrm>
            <a:off x="2800350" y="2055871"/>
            <a:ext cx="6591300" cy="616187"/>
          </a:xfrm>
          <a:prstGeom prst="rect">
            <a:avLst/>
          </a:prstGeom>
          <a:solidFill>
            <a:srgbClr val="253D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hu-HU" sz="2400" dirty="0">
                <a:solidFill>
                  <a:schemeClr val="bg1"/>
                </a:solidFill>
              </a:rPr>
              <a:t>A megvalósítandó architectúra implementációja</a:t>
            </a:r>
          </a:p>
        </p:txBody>
      </p:sp>
      <p:sp>
        <p:nvSpPr>
          <p:cNvPr id="17" name="Content Placeholder 3">
            <a:extLst>
              <a:ext uri="{FF2B5EF4-FFF2-40B4-BE49-F238E27FC236}">
                <a16:creationId xmlns:a16="http://schemas.microsoft.com/office/drawing/2014/main" id="{CF88B916-B40F-2EDA-B264-E07B7156464A}"/>
              </a:ext>
            </a:extLst>
          </p:cNvPr>
          <p:cNvSpPr>
            <a:spLocks noGrp="1"/>
          </p:cNvSpPr>
          <p:nvPr>
            <p:ph sz="quarter" idx="16"/>
          </p:nvPr>
        </p:nvSpPr>
        <p:spPr>
          <a:xfrm>
            <a:off x="152400" y="1630969"/>
            <a:ext cx="1866900" cy="768587"/>
          </a:xfrm>
        </p:spPr>
        <p:txBody>
          <a:bodyPr>
            <a:normAutofit/>
          </a:bodyPr>
          <a:lstStyle/>
          <a:p>
            <a:pPr marL="0" indent="0">
              <a:buNone/>
            </a:pPr>
            <a:r>
              <a:rPr lang="hu-HU" sz="3200" b="1" u="sng" dirty="0"/>
              <a:t>Feladatok </a:t>
            </a:r>
          </a:p>
          <a:p>
            <a:endParaRPr lang="hu-HU" sz="2800" dirty="0"/>
          </a:p>
        </p:txBody>
      </p:sp>
      <p:pic>
        <p:nvPicPr>
          <p:cNvPr id="4" name="Picture 3" descr="A képen szöveg, clipart látható&#10;&#10;Automatikusan generált leírás">
            <a:extLst>
              <a:ext uri="{FF2B5EF4-FFF2-40B4-BE49-F238E27FC236}">
                <a16:creationId xmlns:a16="http://schemas.microsoft.com/office/drawing/2014/main" id="{8DAF7737-722D-5AFB-8FDF-F0635007418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515600" y="1828800"/>
            <a:ext cx="1499235" cy="279400"/>
          </a:xfrm>
          <a:prstGeom prst="rect">
            <a:avLst/>
          </a:prstGeom>
          <a:noFill/>
        </p:spPr>
      </p:pic>
    </p:spTree>
    <p:extLst>
      <p:ext uri="{BB962C8B-B14F-4D97-AF65-F5344CB8AC3E}">
        <p14:creationId xmlns:p14="http://schemas.microsoft.com/office/powerpoint/2010/main" val="215200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3CC4D12-D26A-7D1B-04BB-422D9483B7F0}"/>
              </a:ext>
            </a:extLst>
          </p:cNvPr>
          <p:cNvSpPr>
            <a:spLocks noGrp="1"/>
          </p:cNvSpPr>
          <p:nvPr>
            <p:ph sz="quarter" idx="16"/>
          </p:nvPr>
        </p:nvSpPr>
        <p:spPr>
          <a:xfrm>
            <a:off x="368300" y="1543274"/>
            <a:ext cx="11226800" cy="497114"/>
          </a:xfrm>
        </p:spPr>
        <p:txBody>
          <a:bodyPr>
            <a:normAutofit lnSpcReduction="10000"/>
          </a:bodyPr>
          <a:lstStyle/>
          <a:p>
            <a:pPr marL="0" indent="0" algn="ctr">
              <a:buNone/>
            </a:pPr>
            <a:r>
              <a:rPr lang="hu-HU" sz="2800" dirty="0"/>
              <a:t>Jelenlegi Architectúra</a:t>
            </a:r>
          </a:p>
        </p:txBody>
      </p:sp>
      <p:sp>
        <p:nvSpPr>
          <p:cNvPr id="2" name="Slide Number Placeholder 1">
            <a:extLst>
              <a:ext uri="{FF2B5EF4-FFF2-40B4-BE49-F238E27FC236}">
                <a16:creationId xmlns:a16="http://schemas.microsoft.com/office/drawing/2014/main" id="{BA31EDC3-CDED-79A1-BB0A-1D5A24D5512E}"/>
              </a:ext>
            </a:extLst>
          </p:cNvPr>
          <p:cNvSpPr>
            <a:spLocks noGrp="1"/>
          </p:cNvSpPr>
          <p:nvPr>
            <p:ph type="sldNum" sz="quarter" idx="12"/>
          </p:nvPr>
        </p:nvSpPr>
        <p:spPr/>
        <p:txBody>
          <a:bodyPr/>
          <a:lstStyle/>
          <a:p>
            <a:fld id="{3C6863D3-0438-440B-9B18-903EFF5BE46F}" type="slidenum">
              <a:rPr lang="en-US" smtClean="0"/>
              <a:pPr/>
              <a:t>9</a:t>
            </a:fld>
            <a:endParaRPr lang="en-US" dirty="0"/>
          </a:p>
        </p:txBody>
      </p:sp>
      <p:sp>
        <p:nvSpPr>
          <p:cNvPr id="3" name="Text Placeholder 2">
            <a:extLst>
              <a:ext uri="{FF2B5EF4-FFF2-40B4-BE49-F238E27FC236}">
                <a16:creationId xmlns:a16="http://schemas.microsoft.com/office/drawing/2014/main" id="{B9F0F320-0EED-0575-57E7-343C32D71CA7}"/>
              </a:ext>
            </a:extLst>
          </p:cNvPr>
          <p:cNvSpPr>
            <a:spLocks noGrp="1"/>
          </p:cNvSpPr>
          <p:nvPr>
            <p:ph type="body" sz="quarter" idx="15"/>
          </p:nvPr>
        </p:nvSpPr>
        <p:spPr/>
        <p:txBody>
          <a:bodyPr/>
          <a:lstStyle/>
          <a:p>
            <a:endParaRPr lang="hu-HU"/>
          </a:p>
        </p:txBody>
      </p:sp>
      <p:sp>
        <p:nvSpPr>
          <p:cNvPr id="5" name="Text Placeholder 4">
            <a:extLst>
              <a:ext uri="{FF2B5EF4-FFF2-40B4-BE49-F238E27FC236}">
                <a16:creationId xmlns:a16="http://schemas.microsoft.com/office/drawing/2014/main" id="{44EA122D-609F-62AA-50BC-85BFD3222F42}"/>
              </a:ext>
            </a:extLst>
          </p:cNvPr>
          <p:cNvSpPr>
            <a:spLocks noGrp="1"/>
          </p:cNvSpPr>
          <p:nvPr>
            <p:ph type="body" sz="quarter" idx="14"/>
          </p:nvPr>
        </p:nvSpPr>
        <p:spPr/>
        <p:txBody>
          <a:bodyPr/>
          <a:lstStyle/>
          <a:p>
            <a:endParaRPr lang="hu-HU"/>
          </a:p>
        </p:txBody>
      </p:sp>
      <p:sp>
        <p:nvSpPr>
          <p:cNvPr id="6" name="Title 5">
            <a:extLst>
              <a:ext uri="{FF2B5EF4-FFF2-40B4-BE49-F238E27FC236}">
                <a16:creationId xmlns:a16="http://schemas.microsoft.com/office/drawing/2014/main" id="{AD0779B9-E3CF-E5C6-55E2-281207078576}"/>
              </a:ext>
            </a:extLst>
          </p:cNvPr>
          <p:cNvSpPr>
            <a:spLocks noGrp="1"/>
          </p:cNvSpPr>
          <p:nvPr>
            <p:ph type="title"/>
          </p:nvPr>
        </p:nvSpPr>
        <p:spPr/>
        <p:txBody>
          <a:bodyPr/>
          <a:lstStyle/>
          <a:p>
            <a:endParaRPr lang="hu-HU"/>
          </a:p>
        </p:txBody>
      </p:sp>
      <p:pic>
        <p:nvPicPr>
          <p:cNvPr id="7" name="Picture 6" descr="A picture containing electric blue, text, majorelle blue, blue">
            <a:extLst>
              <a:ext uri="{FF2B5EF4-FFF2-40B4-BE49-F238E27FC236}">
                <a16:creationId xmlns:a16="http://schemas.microsoft.com/office/drawing/2014/main" id="{9EE35D52-7446-48BA-2AC9-70773C45DFDD}"/>
              </a:ext>
            </a:extLst>
          </p:cNvPr>
          <p:cNvPicPr>
            <a:picLocks noChangeAspect="1"/>
          </p:cNvPicPr>
          <p:nvPr/>
        </p:nvPicPr>
        <p:blipFill>
          <a:blip r:embed="rId2"/>
          <a:stretch>
            <a:fillRect/>
          </a:stretch>
        </p:blipFill>
        <p:spPr>
          <a:xfrm>
            <a:off x="6299" y="1495"/>
            <a:ext cx="12185701" cy="1579418"/>
          </a:xfrm>
          <a:prstGeom prst="rect">
            <a:avLst/>
          </a:prstGeom>
        </p:spPr>
      </p:pic>
      <p:pic>
        <p:nvPicPr>
          <p:cNvPr id="13" name="Picture 12">
            <a:extLst>
              <a:ext uri="{FF2B5EF4-FFF2-40B4-BE49-F238E27FC236}">
                <a16:creationId xmlns:a16="http://schemas.microsoft.com/office/drawing/2014/main" id="{8B657A7E-5FB8-282D-4D11-7526AA14B9F9}"/>
              </a:ext>
            </a:extLst>
          </p:cNvPr>
          <p:cNvPicPr>
            <a:picLocks noChangeAspect="1"/>
          </p:cNvPicPr>
          <p:nvPr/>
        </p:nvPicPr>
        <p:blipFill>
          <a:blip r:embed="rId3"/>
          <a:stretch>
            <a:fillRect/>
          </a:stretch>
        </p:blipFill>
        <p:spPr>
          <a:xfrm>
            <a:off x="2580838" y="1960321"/>
            <a:ext cx="7030323" cy="4897679"/>
          </a:xfrm>
          <a:prstGeom prst="rect">
            <a:avLst/>
          </a:prstGeom>
        </p:spPr>
      </p:pic>
      <p:pic>
        <p:nvPicPr>
          <p:cNvPr id="8" name="Picture 7" descr="A képen szöveg, clipart látható&#10;&#10;Automatikusan generált leírás">
            <a:extLst>
              <a:ext uri="{FF2B5EF4-FFF2-40B4-BE49-F238E27FC236}">
                <a16:creationId xmlns:a16="http://schemas.microsoft.com/office/drawing/2014/main" id="{44B7A86D-81C0-17C0-4C14-2600F16FD02B}"/>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15600" y="1828800"/>
            <a:ext cx="1499235" cy="279400"/>
          </a:xfrm>
          <a:prstGeom prst="rect">
            <a:avLst/>
          </a:prstGeom>
          <a:noFill/>
        </p:spPr>
      </p:pic>
    </p:spTree>
    <p:extLst>
      <p:ext uri="{BB962C8B-B14F-4D97-AF65-F5344CB8AC3E}">
        <p14:creationId xmlns:p14="http://schemas.microsoft.com/office/powerpoint/2010/main" val="2822855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oYUq7oeUC4y7tjSysAh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5UTagD4kW0mJlFWXg5Z7R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oYUq7oeUC4y7tjSysAh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5UTagD4kW0mJlFWXg5Z7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ontron template">
  <a:themeElements>
    <a:clrScheme name="Kontron colors">
      <a:dk1>
        <a:srgbClr val="000000"/>
      </a:dk1>
      <a:lt1>
        <a:sysClr val="window" lastClr="FFFFFF"/>
      </a:lt1>
      <a:dk2>
        <a:srgbClr val="58585A"/>
      </a:dk2>
      <a:lt2>
        <a:srgbClr val="F2F2F2"/>
      </a:lt2>
      <a:accent1>
        <a:srgbClr val="005083"/>
      </a:accent1>
      <a:accent2>
        <a:srgbClr val="DEDEDE"/>
      </a:accent2>
      <a:accent3>
        <a:srgbClr val="3FB498"/>
      </a:accent3>
      <a:accent4>
        <a:srgbClr val="006BAC"/>
      </a:accent4>
      <a:accent5>
        <a:srgbClr val="113350"/>
      </a:accent5>
      <a:accent6>
        <a:srgbClr val="6E9EC4"/>
      </a:accent6>
      <a:hlink>
        <a:srgbClr val="3FB498"/>
      </a:hlink>
      <a:folHlink>
        <a:srgbClr val="58585A"/>
      </a:folHlink>
    </a:clrScheme>
    <a:fontScheme name="Kontron fonts">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t"/>
      <a:lstStyle>
        <a:defPPr algn="l">
          <a:defRPr sz="2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Kontron colors">
      <a:dk1>
        <a:srgbClr val="000000"/>
      </a:dk1>
      <a:lt1>
        <a:sysClr val="window" lastClr="FFFFFF"/>
      </a:lt1>
      <a:dk2>
        <a:srgbClr val="58585A"/>
      </a:dk2>
      <a:lt2>
        <a:srgbClr val="F2F2F2"/>
      </a:lt2>
      <a:accent1>
        <a:srgbClr val="005083"/>
      </a:accent1>
      <a:accent2>
        <a:srgbClr val="DEDEDE"/>
      </a:accent2>
      <a:accent3>
        <a:srgbClr val="3FB498"/>
      </a:accent3>
      <a:accent4>
        <a:srgbClr val="006BAC"/>
      </a:accent4>
      <a:accent5>
        <a:srgbClr val="113350"/>
      </a:accent5>
      <a:accent6>
        <a:srgbClr val="6E9EC4"/>
      </a:accent6>
      <a:hlink>
        <a:srgbClr val="3FB498"/>
      </a:hlink>
      <a:folHlink>
        <a:srgbClr val="58585A"/>
      </a:folHlink>
    </a:clrScheme>
    <a:fontScheme name="Kontron fonts">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3.xml><?xml version="1.0" encoding="utf-8"?>
<a:theme xmlns:a="http://schemas.openxmlformats.org/drawingml/2006/main" name="Office Theme">
  <a:themeElements>
    <a:clrScheme name="Kontron colors">
      <a:dk1>
        <a:srgbClr val="000000"/>
      </a:dk1>
      <a:lt1>
        <a:sysClr val="window" lastClr="FFFFFF"/>
      </a:lt1>
      <a:dk2>
        <a:srgbClr val="58585A"/>
      </a:dk2>
      <a:lt2>
        <a:srgbClr val="F2F2F2"/>
      </a:lt2>
      <a:accent1>
        <a:srgbClr val="005083"/>
      </a:accent1>
      <a:accent2>
        <a:srgbClr val="DEDEDE"/>
      </a:accent2>
      <a:accent3>
        <a:srgbClr val="3FB498"/>
      </a:accent3>
      <a:accent4>
        <a:srgbClr val="006BAC"/>
      </a:accent4>
      <a:accent5>
        <a:srgbClr val="113350"/>
      </a:accent5>
      <a:accent6>
        <a:srgbClr val="6E9EC4"/>
      </a:accent6>
      <a:hlink>
        <a:srgbClr val="3FB498"/>
      </a:hlink>
      <a:folHlink>
        <a:srgbClr val="58585A"/>
      </a:folHlink>
    </a:clrScheme>
    <a:fontScheme name="Kontron fonts">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12bfab7-f74c-46c9-b4ad-6f2de1b0c91b">
      <Terms xmlns="http://schemas.microsoft.com/office/infopath/2007/PartnerControls"/>
    </lcf76f155ced4ddcb4097134ff3c332f>
    <TaxCatchAll xmlns="ca01fc4b-f33b-4b93-b663-f546fac1b7a2"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um" ma:contentTypeID="0x0101000834947BB542394DA13CA0AB445C4A65" ma:contentTypeVersion="16" ma:contentTypeDescription="Új dokumentum létrehozása." ma:contentTypeScope="" ma:versionID="f0552bb4ca801854855cc647d8abf5e8">
  <xsd:schema xmlns:xsd="http://www.w3.org/2001/XMLSchema" xmlns:xs="http://www.w3.org/2001/XMLSchema" xmlns:p="http://schemas.microsoft.com/office/2006/metadata/properties" xmlns:ns2="f12bfab7-f74c-46c9-b4ad-6f2de1b0c91b" xmlns:ns3="ca01fc4b-f33b-4b93-b663-f546fac1b7a2" targetNamespace="http://schemas.microsoft.com/office/2006/metadata/properties" ma:root="true" ma:fieldsID="2302c402d16f03e40ca707160dd9d6a3" ns2:_="" ns3:_="">
    <xsd:import namespace="f12bfab7-f74c-46c9-b4ad-6f2de1b0c91b"/>
    <xsd:import namespace="ca01fc4b-f33b-4b93-b663-f546fac1b7a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3:SharedWithUsers" minOccurs="0"/>
                <xsd:element ref="ns3:SharedWithDetails"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12bfab7-f74c-46c9-b4ad-6f2de1b0c9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Képcímkék" ma:readOnly="false" ma:fieldId="{5cf76f15-5ced-4ddc-b409-7134ff3c332f}" ma:taxonomyMulti="true" ma:sspId="3d9ff174-9c06-408e-b0e6-077b1b454015"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a01fc4b-f33b-4b93-b663-f546fac1b7a2" elementFormDefault="qualified">
    <xsd:import namespace="http://schemas.microsoft.com/office/2006/documentManagement/types"/>
    <xsd:import namespace="http://schemas.microsoft.com/office/infopath/2007/PartnerControls"/>
    <xsd:element name="SharedWithUsers" ma:index="15" nillable="true" ma:displayName="Résztvevők"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Megosztva részletekkel" ma:internalName="SharedWithDetails" ma:readOnly="true">
      <xsd:simpleType>
        <xsd:restriction base="dms:Note">
          <xsd:maxLength value="255"/>
        </xsd:restriction>
      </xsd:simpleType>
    </xsd:element>
    <xsd:element name="TaxCatchAll" ma:index="23" nillable="true" ma:displayName="Taxonomy Catch All Column" ma:hidden="true" ma:list="{0992f5ca-e869-46b0-b763-8ac66a898fc9}" ma:internalName="TaxCatchAll" ma:showField="CatchAllData" ma:web="ca01fc4b-f33b-4b93-b663-f546fac1b7a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artalomtípus"/>
        <xsd:element ref="dc:title" minOccurs="0" maxOccurs="1" ma:index="4" ma:displayName="Cím"/>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1A267C4-0B5D-4CBD-936C-AB07918D2224}">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A4E6826A-6CEE-4C90-A7F1-C21B9F7124EC}"/>
</file>

<file path=customXml/itemProps3.xml><?xml version="1.0" encoding="utf-8"?>
<ds:datastoreItem xmlns:ds="http://schemas.openxmlformats.org/officeDocument/2006/customXml" ds:itemID="{234CFC33-2890-4C01-AB79-48E029928CE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490</TotalTime>
  <Words>1279</Words>
  <Application>Microsoft Office PowerPoint</Application>
  <PresentationFormat>Widescreen</PresentationFormat>
  <Paragraphs>257</Paragraphs>
  <Slides>21</Slides>
  <Notes>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7" baseType="lpstr">
      <vt:lpstr>Arial</vt:lpstr>
      <vt:lpstr>Calibri</vt:lpstr>
      <vt:lpstr>Calibri Light</vt:lpstr>
      <vt:lpstr>Exo 2</vt:lpstr>
      <vt:lpstr>Kontron template</vt:lpstr>
      <vt:lpstr>think-cell Folie</vt:lpstr>
      <vt:lpstr>Az OT security kihívásai  esettanulmány egy megvalósított implementáción keresztül</vt:lpstr>
      <vt:lpstr>IoT/i-IoT/ ICS/OT Security</vt:lpstr>
      <vt:lpstr>IT és OT/ICS Security</vt:lpstr>
      <vt:lpstr>OT/ICS Secur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Összefoglalva</vt:lpstr>
      <vt:lpstr>Contac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ophia Rybing | i-pointing</dc:creator>
  <cp:lastModifiedBy>Piszker Gyorgy</cp:lastModifiedBy>
  <cp:revision>31</cp:revision>
  <dcterms:created xsi:type="dcterms:W3CDTF">2023-01-26T14:49:33Z</dcterms:created>
  <dcterms:modified xsi:type="dcterms:W3CDTF">2023-06-01T13:24: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97C57B510C0744931406215D059A9A</vt:lpwstr>
  </property>
  <property fmtid="{D5CDD505-2E9C-101B-9397-08002B2CF9AE}" pid="3" name="MSIP_Label_112bcd22-8325-465e-91ae-81b742d4207e_Enabled">
    <vt:lpwstr>true</vt:lpwstr>
  </property>
  <property fmtid="{D5CDD505-2E9C-101B-9397-08002B2CF9AE}" pid="4" name="MSIP_Label_112bcd22-8325-465e-91ae-81b742d4207e_SetDate">
    <vt:lpwstr>2023-05-28T09:57:59Z</vt:lpwstr>
  </property>
  <property fmtid="{D5CDD505-2E9C-101B-9397-08002B2CF9AE}" pid="5" name="MSIP_Label_112bcd22-8325-465e-91ae-81b742d4207e_Method">
    <vt:lpwstr>Standard</vt:lpwstr>
  </property>
  <property fmtid="{D5CDD505-2E9C-101B-9397-08002B2CF9AE}" pid="6" name="MSIP_Label_112bcd22-8325-465e-91ae-81b742d4207e_Name">
    <vt:lpwstr>General</vt:lpwstr>
  </property>
  <property fmtid="{D5CDD505-2E9C-101B-9397-08002B2CF9AE}" pid="7" name="MSIP_Label_112bcd22-8325-465e-91ae-81b742d4207e_SiteId">
    <vt:lpwstr>8c9d3c97-3fd9-41c8-a2b1-646f3942daf1</vt:lpwstr>
  </property>
  <property fmtid="{D5CDD505-2E9C-101B-9397-08002B2CF9AE}" pid="8" name="MSIP_Label_112bcd22-8325-465e-91ae-81b742d4207e_ActionId">
    <vt:lpwstr>9d77f656-ec48-47a8-9389-903e50423cee</vt:lpwstr>
  </property>
  <property fmtid="{D5CDD505-2E9C-101B-9397-08002B2CF9AE}" pid="9" name="MSIP_Label_112bcd22-8325-465e-91ae-81b742d4207e_ContentBits">
    <vt:lpwstr>0</vt:lpwstr>
  </property>
</Properties>
</file>